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9"/>
  </p:notesMasterIdLst>
  <p:handoutMasterIdLst>
    <p:handoutMasterId r:id="rId10"/>
  </p:handoutMasterIdLst>
  <p:sldIdLst>
    <p:sldId id="2378" r:id="rId5"/>
    <p:sldId id="2379" r:id="rId6"/>
    <p:sldId id="2380" r:id="rId7"/>
    <p:sldId id="2381" r:id="rId8"/>
  </p:sldIdLst>
  <p:sldSz cx="12192000" cy="6858000"/>
  <p:notesSz cx="7010400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ext Slides" id="{A888B672-42B3-46C9-883F-23EFB1DD50FC}">
          <p14:sldIdLst>
            <p14:sldId id="2378"/>
            <p14:sldId id="2379"/>
            <p14:sldId id="2380"/>
            <p14:sldId id="238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36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F0A50F2-8B0F-FC6A-CC45-B5A3DBA47BD0}" name="Soman, Kathryn" initials="SK" userId="S::SOMANK@METROPLUS.ORG::710a74fc-c7d6-4eab-9a9f-a4597d00d87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962"/>
    <a:srgbClr val="FFCF31"/>
    <a:srgbClr val="A8D42E"/>
    <a:srgbClr val="FF00FF"/>
    <a:srgbClr val="FFD030"/>
    <a:srgbClr val="FFFFFF"/>
    <a:srgbClr val="D6DCE5"/>
    <a:srgbClr val="6496C8"/>
    <a:srgbClr val="00B0F0"/>
    <a:srgbClr val="DF8C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491" autoAdjust="0"/>
    <p:restoredTop sz="86395" autoAdjust="0"/>
  </p:normalViewPr>
  <p:slideViewPr>
    <p:cSldViewPr snapToGrid="0">
      <p:cViewPr varScale="1">
        <p:scale>
          <a:sx n="95" d="100"/>
          <a:sy n="95" d="100"/>
        </p:scale>
        <p:origin x="696" y="96"/>
      </p:cViewPr>
      <p:guideLst>
        <p:guide orient="horz" pos="2136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4524" y="103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8/10/relationships/authors" Target="author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9B98E7C-94AA-4798-8ED6-B7BBE9FF525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340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D2BA09F-5DE1-4118-9AF1-B6E8B36F4F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340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3E728F-C1D1-4DE2-8FDE-CE59FB448F0C}" type="datetimeFigureOut">
              <a:rPr lang="en-US" smtClean="0"/>
              <a:t>3/17/2026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5F73AE-4E50-4E54-B22A-EC533E34B64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772669"/>
            <a:ext cx="3037840" cy="46340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2D9F2C8-5EBC-4F74-8576-B0EE7B239AA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938" y="8772669"/>
            <a:ext cx="3037840" cy="46340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EE3292-D489-439B-BEB9-D6D6121B1AD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09655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340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340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906093-3C15-42AB-A6C7-2A2044BF3402}" type="datetimeFigureOut">
              <a:rPr lang="en-US" smtClean="0"/>
              <a:t>3/17/202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44861"/>
            <a:ext cx="560832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37840" cy="46340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772669"/>
            <a:ext cx="3037840" cy="46340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9FD2B2-880E-43AD-A483-CD417FDBCBE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02297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991DF6A-7476-8374-397C-66D014EF3017}"/>
              </a:ext>
            </a:extLst>
          </p:cNvPr>
          <p:cNvSpPr/>
          <p:nvPr userDrawn="1"/>
        </p:nvSpPr>
        <p:spPr>
          <a:xfrm>
            <a:off x="0" y="-7"/>
            <a:ext cx="12192000" cy="625758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BCAD76A-447F-F7F2-0A6A-07254FB8730D}"/>
              </a:ext>
            </a:extLst>
          </p:cNvPr>
          <p:cNvSpPr/>
          <p:nvPr userDrawn="1"/>
        </p:nvSpPr>
        <p:spPr>
          <a:xfrm>
            <a:off x="4663736" y="-8"/>
            <a:ext cx="7528264" cy="6858007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rgbClr val="FFD9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811C99-6DCF-1B2B-68E3-31F3A940648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2707" y="2401677"/>
            <a:ext cx="7358930" cy="1348802"/>
          </a:xfrm>
        </p:spPr>
        <p:txBody>
          <a:bodyPr/>
          <a:lstStyle>
            <a:lvl1pPr>
              <a:defRPr sz="4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TITLE OF PRESENTATIO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C600C45-84BF-667F-60D3-94DEE0A476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2706" y="4145092"/>
            <a:ext cx="7358930" cy="44267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bhead and / or meeting 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213A3FE-3464-A4E0-20B7-C4EB2EA800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2705" y="4685690"/>
            <a:ext cx="7358930" cy="442675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 dirty="0"/>
              <a:t>Dat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C22D045-F2E9-3340-0E64-E03750416538}"/>
              </a:ext>
            </a:extLst>
          </p:cNvPr>
          <p:cNvCxnSpPr>
            <a:cxnSpLocks/>
          </p:cNvCxnSpPr>
          <p:nvPr userDrawn="1"/>
        </p:nvCxnSpPr>
        <p:spPr>
          <a:xfrm>
            <a:off x="462706" y="6081408"/>
            <a:ext cx="11445458" cy="0"/>
          </a:xfrm>
          <a:prstGeom prst="line">
            <a:avLst/>
          </a:prstGeom>
          <a:ln w="38100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68779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118282"/>
            <a:ext cx="11338560" cy="492125"/>
          </a:xfrm>
        </p:spPr>
        <p:txBody>
          <a:bodyPr anchor="ctr"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cap="all" baseline="0"/>
            </a:lvl1pPr>
          </a:lstStyle>
          <a:p>
            <a:r>
              <a:rPr lang="en-US" dirty="0"/>
              <a:t>Multimedia Slide</a:t>
            </a:r>
          </a:p>
        </p:txBody>
      </p:sp>
      <p:sp>
        <p:nvSpPr>
          <p:cNvPr id="20" name="Rectangle 19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1" name="Rectangle 20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2" name="Rectangle 2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3" name="Rectangle 22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B9C91F6-19A4-60D8-C2FA-A0CB4D8E4B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652610"/>
            <a:ext cx="11338560" cy="43402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57300" indent="-3429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1925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range title 1">
            <a:extLst>
              <a:ext uri="{FF2B5EF4-FFF2-40B4-BE49-F238E27FC236}">
                <a16:creationId xmlns:a16="http://schemas.microsoft.com/office/drawing/2014/main" id="{4736416D-EB4F-4346-8783-FC896DC0CA6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84515" y="3868738"/>
            <a:ext cx="10628960" cy="457200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subhead in 16 pt orange | Max two lines</a:t>
            </a:r>
          </a:p>
        </p:txBody>
      </p:sp>
      <p:sp>
        <p:nvSpPr>
          <p:cNvPr id="10" name="Circle 1"/>
          <p:cNvSpPr>
            <a:spLocks noGrp="1"/>
          </p:cNvSpPr>
          <p:nvPr>
            <p:ph type="body" sz="quarter" idx="14" hasCustomPrompt="1"/>
          </p:nvPr>
        </p:nvSpPr>
        <p:spPr>
          <a:xfrm>
            <a:off x="5163312" y="1828800"/>
            <a:ext cx="1865376" cy="1866900"/>
          </a:xfrm>
          <a:prstGeom prst="ellipse">
            <a:avLst/>
          </a:prstGeom>
          <a:ln w="19050">
            <a:solidFill>
              <a:srgbClr val="FFD030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118282"/>
            <a:ext cx="11338560" cy="492125"/>
          </a:xfrm>
        </p:spPr>
        <p:txBody>
          <a:bodyPr anchor="ctr"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cap="all" baseline="0"/>
            </a:lvl1pPr>
          </a:lstStyle>
          <a:p>
            <a:r>
              <a:rPr lang="en-US" dirty="0"/>
              <a:t>One Icon Layout</a:t>
            </a:r>
          </a:p>
        </p:txBody>
      </p:sp>
      <p:sp>
        <p:nvSpPr>
          <p:cNvPr id="20" name="Rectangle 19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1" name="Rectangle 20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2" name="Rectangle 2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3" name="Rectangle 22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41F8632-57B2-5648-DB17-D31A1B2360BD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784512" y="4401689"/>
            <a:ext cx="10628959" cy="1548944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96975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range title 1">
            <a:extLst>
              <a:ext uri="{FF2B5EF4-FFF2-40B4-BE49-F238E27FC236}">
                <a16:creationId xmlns:a16="http://schemas.microsoft.com/office/drawing/2014/main" id="{4736416D-EB4F-4346-8783-FC896DC0CA6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84514" y="3868738"/>
            <a:ext cx="4977306" cy="457200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subhead in 16 pt orange | Max two lines</a:t>
            </a:r>
          </a:p>
        </p:txBody>
      </p:sp>
      <p:sp>
        <p:nvSpPr>
          <p:cNvPr id="18" name="Orange title 2">
            <a:extLst>
              <a:ext uri="{FF2B5EF4-FFF2-40B4-BE49-F238E27FC236}">
                <a16:creationId xmlns:a16="http://schemas.microsoft.com/office/drawing/2014/main" id="{5BAB981D-A627-42CC-B2DE-02C26E3DF94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30182" y="3865340"/>
            <a:ext cx="4977308" cy="457200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subhead in 16 pt orange | Max two lines</a:t>
            </a:r>
          </a:p>
        </p:txBody>
      </p:sp>
      <p:sp>
        <p:nvSpPr>
          <p:cNvPr id="11" name="Circle 2"/>
          <p:cNvSpPr>
            <a:spLocks noGrp="1"/>
          </p:cNvSpPr>
          <p:nvPr>
            <p:ph type="body" sz="quarter" idx="15" hasCustomPrompt="1"/>
          </p:nvPr>
        </p:nvSpPr>
        <p:spPr>
          <a:xfrm>
            <a:off x="7986148" y="1828800"/>
            <a:ext cx="1865376" cy="1866900"/>
          </a:xfrm>
          <a:prstGeom prst="ellipse">
            <a:avLst/>
          </a:prstGeom>
          <a:ln w="19050">
            <a:solidFill>
              <a:srgbClr val="FFD030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10" name="Circle 1"/>
          <p:cNvSpPr>
            <a:spLocks noGrp="1"/>
          </p:cNvSpPr>
          <p:nvPr>
            <p:ph type="body" sz="quarter" idx="14" hasCustomPrompt="1"/>
          </p:nvPr>
        </p:nvSpPr>
        <p:spPr>
          <a:xfrm>
            <a:off x="2340478" y="1828800"/>
            <a:ext cx="1865376" cy="1866900"/>
          </a:xfrm>
          <a:prstGeom prst="ellipse">
            <a:avLst/>
          </a:prstGeom>
          <a:ln w="19050">
            <a:solidFill>
              <a:srgbClr val="FFD030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118282"/>
            <a:ext cx="11338560" cy="492125"/>
          </a:xfrm>
        </p:spPr>
        <p:txBody>
          <a:bodyPr anchor="ctr"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cap="all" baseline="0"/>
            </a:lvl1pPr>
          </a:lstStyle>
          <a:p>
            <a:r>
              <a:rPr lang="en-US" dirty="0"/>
              <a:t>Two Icons layout</a:t>
            </a:r>
          </a:p>
        </p:txBody>
      </p:sp>
      <p:sp>
        <p:nvSpPr>
          <p:cNvPr id="20" name="Rectangle 19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1" name="Rectangle 20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2" name="Rectangle 2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3" name="Rectangle 22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6C14E0A-FF23-51E3-9DFF-15FEF58154A7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784510" y="4401689"/>
            <a:ext cx="4977309" cy="1548944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ADC5170-75F4-51FC-412C-B1A10CBA2C2D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430181" y="4401689"/>
            <a:ext cx="4977309" cy="1548944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434236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range title 1">
            <a:extLst>
              <a:ext uri="{FF2B5EF4-FFF2-40B4-BE49-F238E27FC236}">
                <a16:creationId xmlns:a16="http://schemas.microsoft.com/office/drawing/2014/main" id="{4736416D-EB4F-4346-8783-FC896DC0CA6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84514" y="3868738"/>
            <a:ext cx="3335482" cy="457200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subhead in 16 pt orange | Max two lines</a:t>
            </a:r>
          </a:p>
        </p:txBody>
      </p:sp>
      <p:sp>
        <p:nvSpPr>
          <p:cNvPr id="18" name="Orange title 2">
            <a:extLst>
              <a:ext uri="{FF2B5EF4-FFF2-40B4-BE49-F238E27FC236}">
                <a16:creationId xmlns:a16="http://schemas.microsoft.com/office/drawing/2014/main" id="{5BAB981D-A627-42CC-B2DE-02C26E3DF94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36843" y="3865340"/>
            <a:ext cx="3335482" cy="457200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subhead in 16 pt orange | Max two lines</a:t>
            </a:r>
          </a:p>
        </p:txBody>
      </p:sp>
      <p:sp>
        <p:nvSpPr>
          <p:cNvPr id="19" name="Orange title 3">
            <a:extLst>
              <a:ext uri="{FF2B5EF4-FFF2-40B4-BE49-F238E27FC236}">
                <a16:creationId xmlns:a16="http://schemas.microsoft.com/office/drawing/2014/main" id="{E65F5722-9D51-4EC9-BA8C-FDC59DB8463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75761" y="3865340"/>
            <a:ext cx="3335482" cy="457200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subhead in 16 pt orange | Max two lines</a:t>
            </a:r>
          </a:p>
        </p:txBody>
      </p:sp>
      <p:sp>
        <p:nvSpPr>
          <p:cNvPr id="12" name="Circle 3"/>
          <p:cNvSpPr>
            <a:spLocks noGrp="1"/>
          </p:cNvSpPr>
          <p:nvPr>
            <p:ph type="body" sz="quarter" idx="16" hasCustomPrompt="1"/>
          </p:nvPr>
        </p:nvSpPr>
        <p:spPr>
          <a:xfrm>
            <a:off x="8910814" y="1828800"/>
            <a:ext cx="1865376" cy="1866900"/>
          </a:xfrm>
          <a:prstGeom prst="ellipse">
            <a:avLst/>
          </a:prstGeom>
          <a:ln w="19050">
            <a:solidFill>
              <a:srgbClr val="FFD030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11" name="Circle 2"/>
          <p:cNvSpPr>
            <a:spLocks noGrp="1"/>
          </p:cNvSpPr>
          <p:nvPr>
            <p:ph type="body" sz="quarter" idx="15" hasCustomPrompt="1"/>
          </p:nvPr>
        </p:nvSpPr>
        <p:spPr>
          <a:xfrm>
            <a:off x="5171896" y="1828800"/>
            <a:ext cx="1865376" cy="1866900"/>
          </a:xfrm>
          <a:prstGeom prst="ellipse">
            <a:avLst/>
          </a:prstGeom>
          <a:ln w="19050">
            <a:solidFill>
              <a:srgbClr val="FFD030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10" name="Circle 1"/>
          <p:cNvSpPr>
            <a:spLocks noGrp="1"/>
          </p:cNvSpPr>
          <p:nvPr>
            <p:ph type="body" sz="quarter" idx="14" hasCustomPrompt="1"/>
          </p:nvPr>
        </p:nvSpPr>
        <p:spPr>
          <a:xfrm>
            <a:off x="1519566" y="1828800"/>
            <a:ext cx="1865376" cy="1866900"/>
          </a:xfrm>
          <a:prstGeom prst="ellipse">
            <a:avLst/>
          </a:prstGeom>
          <a:ln w="19050">
            <a:solidFill>
              <a:srgbClr val="FFD030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118282"/>
            <a:ext cx="11338560" cy="492125"/>
          </a:xfrm>
        </p:spPr>
        <p:txBody>
          <a:bodyPr anchor="ctr"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cap="all" baseline="0"/>
            </a:lvl1pPr>
          </a:lstStyle>
          <a:p>
            <a:r>
              <a:rPr lang="en-US" dirty="0"/>
              <a:t>Three Icons Layout</a:t>
            </a:r>
          </a:p>
        </p:txBody>
      </p:sp>
      <p:sp>
        <p:nvSpPr>
          <p:cNvPr id="20" name="Rectangle 19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1" name="Rectangle 20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2" name="Rectangle 2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3" name="Rectangle 22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D5E607CF-7910-12BC-6C4E-638DE184539B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784513" y="4401689"/>
            <a:ext cx="3335482" cy="1548944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EAB7BC15-283C-76D1-D94B-9B00A084DD44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4436843" y="4401689"/>
            <a:ext cx="3335482" cy="1548944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8C38E2C0-FE94-07B5-BE55-E2EE5CF2D038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75761" y="4401689"/>
            <a:ext cx="3335482" cy="1548944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00151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FE4E1-3388-5ACB-7650-0E26E3468C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VERTICAL LIS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7E94348-AFAD-F88C-9054-6A6165BBAFC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4EED3D-B130-481A-8ECD-A0040EAC36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B0F2177-8333-9201-87A4-C9215311BDB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03860" y="1486173"/>
            <a:ext cx="2738482" cy="661987"/>
          </a:xfrm>
        </p:spPr>
        <p:txBody>
          <a:bodyPr anchor="ctr"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5FEAF28F-78B4-B6EF-BD99-8412684CD6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03860" y="2395222"/>
            <a:ext cx="2738482" cy="661987"/>
          </a:xfrm>
        </p:spPr>
        <p:txBody>
          <a:bodyPr anchor="ctr"/>
          <a:lstStyle>
            <a:lvl1pPr>
              <a:defRPr sz="1600" b="1"/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580B912B-E60C-F762-28E1-AE422AAEDB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03860" y="3327402"/>
            <a:ext cx="2738482" cy="661987"/>
          </a:xfrm>
        </p:spPr>
        <p:txBody>
          <a:bodyPr anchor="ctr"/>
          <a:lstStyle>
            <a:lvl1pPr>
              <a:defRPr sz="1600" b="1"/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5E2A2DBD-3835-67C1-E774-A198D35AB90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03860" y="4252887"/>
            <a:ext cx="2738482" cy="661987"/>
          </a:xfrm>
        </p:spPr>
        <p:txBody>
          <a:bodyPr anchor="ctr"/>
          <a:lstStyle>
            <a:lvl1pPr>
              <a:defRPr sz="1600" b="1"/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3CA19730-6879-0947-905D-D3BB8565C21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03860" y="5178372"/>
            <a:ext cx="2738482" cy="661987"/>
          </a:xfrm>
        </p:spPr>
        <p:txBody>
          <a:bodyPr anchor="ctr"/>
          <a:lstStyle>
            <a:lvl1pPr>
              <a:defRPr sz="1600" b="1"/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D7372EE8-9B02-A6A1-4A34-8CB0D60E778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51777" y="1486173"/>
            <a:ext cx="6983152" cy="661987"/>
          </a:xfrm>
        </p:spPr>
        <p:txBody>
          <a:bodyPr anchor="ctr"/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tem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7D520B24-367F-0DDE-83F4-4DC71E9474E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51777" y="2395222"/>
            <a:ext cx="6983152" cy="661987"/>
          </a:xfrm>
        </p:spPr>
        <p:txBody>
          <a:bodyPr anchor="ctr"/>
          <a:lstStyle>
            <a:lvl1pPr>
              <a:defRPr sz="1400" b="1"/>
            </a:lvl1pPr>
          </a:lstStyle>
          <a:p>
            <a:pPr lvl="0"/>
            <a:r>
              <a:rPr lang="en-US" dirty="0"/>
              <a:t>Item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0ACA517B-F372-66FF-9DE0-25278FFD7E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51777" y="3327402"/>
            <a:ext cx="6983152" cy="661987"/>
          </a:xfrm>
        </p:spPr>
        <p:txBody>
          <a:bodyPr anchor="ctr"/>
          <a:lstStyle>
            <a:lvl1pPr>
              <a:defRPr sz="1400" b="1"/>
            </a:lvl1pPr>
          </a:lstStyle>
          <a:p>
            <a:pPr lvl="0"/>
            <a:r>
              <a:rPr lang="en-US" dirty="0"/>
              <a:t>Item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3FBA1BBF-F7E2-3DBD-5A44-B259A8540E8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51776" y="4252887"/>
            <a:ext cx="6983151" cy="661987"/>
          </a:xfrm>
        </p:spPr>
        <p:txBody>
          <a:bodyPr anchor="ctr"/>
          <a:lstStyle>
            <a:lvl1pPr>
              <a:defRPr sz="1400" b="1"/>
            </a:lvl1pPr>
          </a:lstStyle>
          <a:p>
            <a:pPr lvl="0"/>
            <a:r>
              <a:rPr lang="en-US" dirty="0"/>
              <a:t>Item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45F4AA2E-E3D4-41D3-15C5-8625537798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51777" y="5178372"/>
            <a:ext cx="6983150" cy="661987"/>
          </a:xfrm>
        </p:spPr>
        <p:txBody>
          <a:bodyPr anchor="ctr"/>
          <a:lstStyle>
            <a:lvl1pPr>
              <a:defRPr sz="1400" b="1"/>
            </a:lvl1pPr>
          </a:lstStyle>
          <a:p>
            <a:pPr lvl="0"/>
            <a:r>
              <a:rPr lang="en-US" dirty="0"/>
              <a:t>Item</a:t>
            </a:r>
          </a:p>
        </p:txBody>
      </p:sp>
    </p:spTree>
    <p:extLst>
      <p:ext uri="{BB962C8B-B14F-4D97-AF65-F5344CB8AC3E}">
        <p14:creationId xmlns:p14="http://schemas.microsoft.com/office/powerpoint/2010/main" val="24532898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 List 2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range title 1">
            <a:extLst>
              <a:ext uri="{FF2B5EF4-FFF2-40B4-BE49-F238E27FC236}">
                <a16:creationId xmlns:a16="http://schemas.microsoft.com/office/drawing/2014/main" id="{4736416D-EB4F-4346-8783-FC896DC0CA6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8412" y="3159730"/>
            <a:ext cx="5003222" cy="453802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18" name="Orange title 2">
            <a:extLst>
              <a:ext uri="{FF2B5EF4-FFF2-40B4-BE49-F238E27FC236}">
                <a16:creationId xmlns:a16="http://schemas.microsoft.com/office/drawing/2014/main" id="{5BAB981D-A627-42CC-B2DE-02C26E3DF94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42230" y="3156332"/>
            <a:ext cx="5003221" cy="457200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cap="all" baseline="0"/>
            </a:lvl1pPr>
          </a:lstStyle>
          <a:p>
            <a:r>
              <a:rPr lang="en-US" dirty="0"/>
              <a:t>Horizontal List (2 Items)</a:t>
            </a:r>
          </a:p>
        </p:txBody>
      </p:sp>
      <p:sp>
        <p:nvSpPr>
          <p:cNvPr id="20" name="Rectangle 19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1" name="Rectangle 20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2" name="Rectangle 2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3" name="Rectangle 22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9" name="Google Shape;92;p16">
            <a:extLst>
              <a:ext uri="{FF2B5EF4-FFF2-40B4-BE49-F238E27FC236}">
                <a16:creationId xmlns:a16="http://schemas.microsoft.com/office/drawing/2014/main" id="{DBFC533B-843A-7CAF-D3DE-EBF4117677F4}"/>
              </a:ext>
            </a:extLst>
          </p:cNvPr>
          <p:cNvCxnSpPr>
            <a:cxnSpLocks/>
          </p:cNvCxnSpPr>
          <p:nvPr userDrawn="1"/>
        </p:nvCxnSpPr>
        <p:spPr>
          <a:xfrm>
            <a:off x="718412" y="3027807"/>
            <a:ext cx="10726585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1EEDCC69-40C2-C8C9-991A-8C97D34FC81A}"/>
              </a:ext>
            </a:extLst>
          </p:cNvPr>
          <p:cNvSpPr/>
          <p:nvPr userDrawn="1"/>
        </p:nvSpPr>
        <p:spPr>
          <a:xfrm>
            <a:off x="2759933" y="1660275"/>
            <a:ext cx="920180" cy="838254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2FC7FFEC-8646-5052-B846-495DF693B6A2}"/>
              </a:ext>
            </a:extLst>
          </p:cNvPr>
          <p:cNvSpPr/>
          <p:nvPr userDrawn="1"/>
        </p:nvSpPr>
        <p:spPr>
          <a:xfrm>
            <a:off x="8483750" y="1660275"/>
            <a:ext cx="920180" cy="838254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1C421DA-83C6-D8D5-B207-18A776C66B50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718412" y="3734719"/>
            <a:ext cx="5003222" cy="22143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489DF4A1-BEBF-FE62-A36F-81892765A293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6442231" y="3734719"/>
            <a:ext cx="5003220" cy="22143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317634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 List 3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range title 1">
            <a:extLst>
              <a:ext uri="{FF2B5EF4-FFF2-40B4-BE49-F238E27FC236}">
                <a16:creationId xmlns:a16="http://schemas.microsoft.com/office/drawing/2014/main" id="{4736416D-EB4F-4346-8783-FC896DC0CA6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8412" y="3159730"/>
            <a:ext cx="3335482" cy="453802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18" name="Orange title 2">
            <a:extLst>
              <a:ext uri="{FF2B5EF4-FFF2-40B4-BE49-F238E27FC236}">
                <a16:creationId xmlns:a16="http://schemas.microsoft.com/office/drawing/2014/main" id="{5BAB981D-A627-42CC-B2DE-02C26E3DF94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70741" y="3156332"/>
            <a:ext cx="3335482" cy="457200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19" name="Orange title 3">
            <a:extLst>
              <a:ext uri="{FF2B5EF4-FFF2-40B4-BE49-F238E27FC236}">
                <a16:creationId xmlns:a16="http://schemas.microsoft.com/office/drawing/2014/main" id="{E65F5722-9D51-4EC9-BA8C-FDC59DB8463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09659" y="3156332"/>
            <a:ext cx="3335482" cy="457200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cap="all" baseline="0"/>
            </a:lvl1pPr>
          </a:lstStyle>
          <a:p>
            <a:r>
              <a:rPr lang="en-US" dirty="0"/>
              <a:t>Horizontal List (3 Items)</a:t>
            </a:r>
          </a:p>
        </p:txBody>
      </p:sp>
      <p:sp>
        <p:nvSpPr>
          <p:cNvPr id="20" name="Rectangle 19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1" name="Rectangle 20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2" name="Rectangle 2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3" name="Rectangle 22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9" name="Google Shape;92;p16">
            <a:extLst>
              <a:ext uri="{FF2B5EF4-FFF2-40B4-BE49-F238E27FC236}">
                <a16:creationId xmlns:a16="http://schemas.microsoft.com/office/drawing/2014/main" id="{DBFC533B-843A-7CAF-D3DE-EBF4117677F4}"/>
              </a:ext>
            </a:extLst>
          </p:cNvPr>
          <p:cNvCxnSpPr>
            <a:cxnSpLocks/>
          </p:cNvCxnSpPr>
          <p:nvPr userDrawn="1"/>
        </p:nvCxnSpPr>
        <p:spPr>
          <a:xfrm>
            <a:off x="718412" y="3027807"/>
            <a:ext cx="10726585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1EEDCC69-40C2-C8C9-991A-8C97D34FC81A}"/>
              </a:ext>
            </a:extLst>
          </p:cNvPr>
          <p:cNvSpPr/>
          <p:nvPr userDrawn="1"/>
        </p:nvSpPr>
        <p:spPr>
          <a:xfrm>
            <a:off x="2054374" y="1660275"/>
            <a:ext cx="920180" cy="838254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DEFA4037-F977-5F3A-0E18-E092F3CD4D93}"/>
              </a:ext>
            </a:extLst>
          </p:cNvPr>
          <p:cNvSpPr/>
          <p:nvPr userDrawn="1"/>
        </p:nvSpPr>
        <p:spPr>
          <a:xfrm>
            <a:off x="5693060" y="1660275"/>
            <a:ext cx="920180" cy="838254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2FC7FFEC-8646-5052-B846-495DF693B6A2}"/>
              </a:ext>
            </a:extLst>
          </p:cNvPr>
          <p:cNvSpPr/>
          <p:nvPr userDrawn="1"/>
        </p:nvSpPr>
        <p:spPr>
          <a:xfrm>
            <a:off x="9453118" y="1660275"/>
            <a:ext cx="920180" cy="838254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1C421DA-83C6-D8D5-B207-18A776C66B50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718413" y="3734719"/>
            <a:ext cx="3335338" cy="22143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489DF4A1-BEBF-FE62-A36F-81892765A293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4370741" y="3734719"/>
            <a:ext cx="3335338" cy="22143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4">
            <a:extLst>
              <a:ext uri="{FF2B5EF4-FFF2-40B4-BE49-F238E27FC236}">
                <a16:creationId xmlns:a16="http://schemas.microsoft.com/office/drawing/2014/main" id="{70C9476F-0071-0EAB-6EB8-AAE634483DBA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8109659" y="3734719"/>
            <a:ext cx="3335338" cy="22143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3240970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 List 4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range title 1">
            <a:extLst>
              <a:ext uri="{FF2B5EF4-FFF2-40B4-BE49-F238E27FC236}">
                <a16:creationId xmlns:a16="http://schemas.microsoft.com/office/drawing/2014/main" id="{4736416D-EB4F-4346-8783-FC896DC0CA6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8412" y="3159730"/>
            <a:ext cx="2446819" cy="453802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18" name="Orange title 2">
            <a:extLst>
              <a:ext uri="{FF2B5EF4-FFF2-40B4-BE49-F238E27FC236}">
                <a16:creationId xmlns:a16="http://schemas.microsoft.com/office/drawing/2014/main" id="{5BAB981D-A627-42CC-B2DE-02C26E3DF94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69128" y="3156332"/>
            <a:ext cx="2446820" cy="457200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19" name="Orange title 3">
            <a:extLst>
              <a:ext uri="{FF2B5EF4-FFF2-40B4-BE49-F238E27FC236}">
                <a16:creationId xmlns:a16="http://schemas.microsoft.com/office/drawing/2014/main" id="{E65F5722-9D51-4EC9-BA8C-FDC59DB8463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42328" y="3156332"/>
            <a:ext cx="2446821" cy="457200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cap="all" baseline="0"/>
            </a:lvl1pPr>
          </a:lstStyle>
          <a:p>
            <a:r>
              <a:rPr lang="en-US" dirty="0"/>
              <a:t>Horizontal List (4 Items)</a:t>
            </a:r>
          </a:p>
        </p:txBody>
      </p:sp>
      <p:sp>
        <p:nvSpPr>
          <p:cNvPr id="20" name="Rectangle 19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1" name="Rectangle 20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2" name="Rectangle 2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3" name="Rectangle 22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9" name="Google Shape;92;p16">
            <a:extLst>
              <a:ext uri="{FF2B5EF4-FFF2-40B4-BE49-F238E27FC236}">
                <a16:creationId xmlns:a16="http://schemas.microsoft.com/office/drawing/2014/main" id="{DBFC533B-843A-7CAF-D3DE-EBF4117677F4}"/>
              </a:ext>
            </a:extLst>
          </p:cNvPr>
          <p:cNvCxnSpPr>
            <a:cxnSpLocks/>
          </p:cNvCxnSpPr>
          <p:nvPr userDrawn="1"/>
        </p:nvCxnSpPr>
        <p:spPr>
          <a:xfrm>
            <a:off x="718412" y="3027807"/>
            <a:ext cx="10726585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1EEDCC69-40C2-C8C9-991A-8C97D34FC81A}"/>
              </a:ext>
            </a:extLst>
          </p:cNvPr>
          <p:cNvSpPr/>
          <p:nvPr userDrawn="1"/>
        </p:nvSpPr>
        <p:spPr>
          <a:xfrm>
            <a:off x="1481731" y="1660275"/>
            <a:ext cx="920180" cy="838254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DEFA4037-F977-5F3A-0E18-E092F3CD4D93}"/>
              </a:ext>
            </a:extLst>
          </p:cNvPr>
          <p:cNvSpPr/>
          <p:nvPr userDrawn="1"/>
        </p:nvSpPr>
        <p:spPr>
          <a:xfrm>
            <a:off x="7016889" y="1660275"/>
            <a:ext cx="920180" cy="838254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2FC7FFEC-8646-5052-B846-495DF693B6A2}"/>
              </a:ext>
            </a:extLst>
          </p:cNvPr>
          <p:cNvSpPr/>
          <p:nvPr userDrawn="1"/>
        </p:nvSpPr>
        <p:spPr>
          <a:xfrm>
            <a:off x="9790089" y="1660275"/>
            <a:ext cx="920180" cy="838254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1C421DA-83C6-D8D5-B207-18A776C66B50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718414" y="3734719"/>
            <a:ext cx="2446817" cy="22143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489DF4A1-BEBF-FE62-A36F-81892765A293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3469128" y="3734719"/>
            <a:ext cx="2469303" cy="22143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4">
            <a:extLst>
              <a:ext uri="{FF2B5EF4-FFF2-40B4-BE49-F238E27FC236}">
                <a16:creationId xmlns:a16="http://schemas.microsoft.com/office/drawing/2014/main" id="{70C9476F-0071-0EAB-6EB8-AAE634483DBA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6242328" y="3734719"/>
            <a:ext cx="2469303" cy="22143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Orange title 3">
            <a:extLst>
              <a:ext uri="{FF2B5EF4-FFF2-40B4-BE49-F238E27FC236}">
                <a16:creationId xmlns:a16="http://schemas.microsoft.com/office/drawing/2014/main" id="{F8F37FF3-3142-3683-BB46-FD4068D77FE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015528" y="3156332"/>
            <a:ext cx="2446821" cy="457200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27" name="Content Placeholder 4">
            <a:extLst>
              <a:ext uri="{FF2B5EF4-FFF2-40B4-BE49-F238E27FC236}">
                <a16:creationId xmlns:a16="http://schemas.microsoft.com/office/drawing/2014/main" id="{AE1CACD6-0E21-B34E-6BED-535136B02DF3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9015528" y="3734719"/>
            <a:ext cx="2469303" cy="22143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C57F8269-FA02-C7B4-0924-0D0D2C751922}"/>
              </a:ext>
            </a:extLst>
          </p:cNvPr>
          <p:cNvSpPr/>
          <p:nvPr userDrawn="1"/>
        </p:nvSpPr>
        <p:spPr>
          <a:xfrm>
            <a:off x="4232448" y="1631805"/>
            <a:ext cx="920180" cy="838254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97084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-Column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901FF2-876E-A64A-BEBE-DD905BF64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0"/>
            <a:ext cx="11341100" cy="107899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88C2EF-BB40-0E43-9E11-05E69EBD5A9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69900" y="1371600"/>
            <a:ext cx="5181600" cy="45011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E0EFADB-B118-EB46-B2E3-A04C0D94370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629400" y="1371600"/>
            <a:ext cx="5181600" cy="45011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7A67E33-C5D4-A74F-BE26-69259B9FAB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157C3A33-8797-B644-A994-F09AF5F5037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654903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9F3237-B786-E348-B12F-E7662E4412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1600" y="0"/>
            <a:ext cx="11366500" cy="107899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E8E7AB-B0E5-8C4C-B294-FCDD664E16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1600" y="1371600"/>
            <a:ext cx="5157787" cy="6858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51CF415-74C4-3B4A-BFDE-E7964F32502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1600" y="2139950"/>
            <a:ext cx="5157787" cy="37494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1D49E14-8CB5-7444-9E17-0C227DA145D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627812" y="1371600"/>
            <a:ext cx="5183188" cy="6858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34CAFEC-4B44-3E4E-BE0D-9B1CCE3054B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627812" y="2139950"/>
            <a:ext cx="5183188" cy="37494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B2466CC-D79C-3648-8415-724F98B62B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157C3A33-8797-B644-A994-F09AF5F5037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18677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991DF6A-7476-8374-397C-66D014EF3017}"/>
              </a:ext>
            </a:extLst>
          </p:cNvPr>
          <p:cNvSpPr/>
          <p:nvPr userDrawn="1"/>
        </p:nvSpPr>
        <p:spPr>
          <a:xfrm>
            <a:off x="0" y="-7"/>
            <a:ext cx="12192000" cy="68580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BCAD76A-447F-F7F2-0A6A-07254FB8730D}"/>
              </a:ext>
            </a:extLst>
          </p:cNvPr>
          <p:cNvSpPr/>
          <p:nvPr userDrawn="1"/>
        </p:nvSpPr>
        <p:spPr>
          <a:xfrm>
            <a:off x="364222" y="-8"/>
            <a:ext cx="7528264" cy="6858007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rgbClr val="FFD9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811C99-6DCF-1B2B-68E3-31F3A940648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2707" y="418640"/>
            <a:ext cx="11314324" cy="3314005"/>
          </a:xfrm>
        </p:spPr>
        <p:txBody>
          <a:bodyPr anchor="ctr"/>
          <a:lstStyle>
            <a:lvl1pPr>
              <a:defRPr sz="72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TITLE OF PRESENTATIO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C600C45-84BF-667F-60D3-94DEE0A476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2706" y="4145092"/>
            <a:ext cx="7358930" cy="44267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bhead and / or meeting 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213A3FE-3464-A4E0-20B7-C4EB2EA800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2705" y="4685690"/>
            <a:ext cx="7358930" cy="442675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 dirty="0"/>
              <a:t>Dat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C22D045-F2E9-3340-0E64-E03750416538}"/>
              </a:ext>
            </a:extLst>
          </p:cNvPr>
          <p:cNvCxnSpPr>
            <a:cxnSpLocks/>
          </p:cNvCxnSpPr>
          <p:nvPr userDrawn="1"/>
        </p:nvCxnSpPr>
        <p:spPr>
          <a:xfrm>
            <a:off x="462706" y="6081408"/>
            <a:ext cx="11314325" cy="0"/>
          </a:xfrm>
          <a:prstGeom prst="line">
            <a:avLst/>
          </a:prstGeom>
          <a:ln w="38100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239542C0-05CC-07FD-FDFD-45D8A9C84C8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21168" y="3671268"/>
            <a:ext cx="3877768" cy="2410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82294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D3F11C0-6649-02E4-C40B-47487FB0AF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5540E7-9486-578A-551E-366C8056E7E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104391" y="704008"/>
            <a:ext cx="8011450" cy="497933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65FD98F-748F-DB45-A42B-08A1C540C53F}"/>
              </a:ext>
            </a:extLst>
          </p:cNvPr>
          <p:cNvSpPr txBox="1"/>
          <p:nvPr userDrawn="1"/>
        </p:nvSpPr>
        <p:spPr>
          <a:xfrm>
            <a:off x="6907239" y="4719015"/>
            <a:ext cx="33059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spc="-150" dirty="0">
                <a:solidFill>
                  <a:schemeClr val="tx1"/>
                </a:solidFill>
              </a:rPr>
              <a:t>metroplus.org</a:t>
            </a:r>
          </a:p>
        </p:txBody>
      </p:sp>
    </p:spTree>
    <p:extLst>
      <p:ext uri="{BB962C8B-B14F-4D97-AF65-F5344CB8AC3E}">
        <p14:creationId xmlns:p14="http://schemas.microsoft.com/office/powerpoint/2010/main" val="1771090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D3F11C0-6649-02E4-C40B-47487FB0AF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5621F6D3-E0CA-FDFC-4F83-63BF23171B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104391" y="704008"/>
            <a:ext cx="8011451" cy="497933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C444373-F753-3CD1-37A4-9F05FFA3823E}"/>
              </a:ext>
            </a:extLst>
          </p:cNvPr>
          <p:cNvSpPr txBox="1"/>
          <p:nvPr userDrawn="1"/>
        </p:nvSpPr>
        <p:spPr>
          <a:xfrm>
            <a:off x="6907239" y="4719015"/>
            <a:ext cx="33059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spc="-150" dirty="0">
                <a:solidFill>
                  <a:schemeClr val="bg1"/>
                </a:solidFill>
              </a:rPr>
              <a:t>metroplus.org</a:t>
            </a:r>
          </a:p>
        </p:txBody>
      </p:sp>
    </p:spTree>
    <p:extLst>
      <p:ext uri="{BB962C8B-B14F-4D97-AF65-F5344CB8AC3E}">
        <p14:creationId xmlns:p14="http://schemas.microsoft.com/office/powerpoint/2010/main" val="4903414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D3F11C0-6649-02E4-C40B-47487FB0AF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621F6D3-E0CA-FDFC-4F83-63BF23171B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157116" y="3973690"/>
            <a:ext cx="3877767" cy="241014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C444373-F753-3CD1-37A4-9F05FFA3823E}"/>
              </a:ext>
            </a:extLst>
          </p:cNvPr>
          <p:cNvSpPr txBox="1"/>
          <p:nvPr userDrawn="1"/>
        </p:nvSpPr>
        <p:spPr>
          <a:xfrm>
            <a:off x="6216332" y="5898022"/>
            <a:ext cx="1858178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700" spc="0" dirty="0">
                <a:solidFill>
                  <a:schemeClr val="tx1"/>
                </a:solidFill>
              </a:rPr>
              <a:t>metroplus.org</a:t>
            </a:r>
          </a:p>
        </p:txBody>
      </p:sp>
    </p:spTree>
    <p:extLst>
      <p:ext uri="{BB962C8B-B14F-4D97-AF65-F5344CB8AC3E}">
        <p14:creationId xmlns:p14="http://schemas.microsoft.com/office/powerpoint/2010/main" val="19093551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D3F11C0-6649-02E4-C40B-47487FB0AF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5621F6D3-E0CA-FDFC-4F83-63BF23171B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57116" y="3973690"/>
            <a:ext cx="3877768" cy="241014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C444373-F753-3CD1-37A4-9F05FFA3823E}"/>
              </a:ext>
            </a:extLst>
          </p:cNvPr>
          <p:cNvSpPr txBox="1"/>
          <p:nvPr userDrawn="1"/>
        </p:nvSpPr>
        <p:spPr>
          <a:xfrm>
            <a:off x="6176706" y="5898022"/>
            <a:ext cx="1858178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700" spc="0" dirty="0">
                <a:solidFill>
                  <a:schemeClr val="bg1"/>
                </a:solidFill>
              </a:rPr>
              <a:t>metroplus.org</a:t>
            </a:r>
          </a:p>
        </p:txBody>
      </p:sp>
    </p:spTree>
    <p:extLst>
      <p:ext uri="{BB962C8B-B14F-4D97-AF65-F5344CB8AC3E}">
        <p14:creationId xmlns:p14="http://schemas.microsoft.com/office/powerpoint/2010/main" val="140913941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CBDCC61-B9D6-D68C-215C-465D5B1EF9D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4EED3D-B130-481A-8ECD-A0040EAC36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67661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991DF6A-7476-8374-397C-66D014EF3017}"/>
              </a:ext>
            </a:extLst>
          </p:cNvPr>
          <p:cNvSpPr/>
          <p:nvPr userDrawn="1"/>
        </p:nvSpPr>
        <p:spPr>
          <a:xfrm>
            <a:off x="0" y="-7"/>
            <a:ext cx="12192000" cy="68580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BCAD76A-447F-F7F2-0A6A-07254FB8730D}"/>
              </a:ext>
            </a:extLst>
          </p:cNvPr>
          <p:cNvSpPr/>
          <p:nvPr userDrawn="1"/>
        </p:nvSpPr>
        <p:spPr>
          <a:xfrm>
            <a:off x="361312" y="0"/>
            <a:ext cx="7547159" cy="6858000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811C99-6DCF-1B2B-68E3-31F3A940648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0" y="2911450"/>
            <a:ext cx="5892800" cy="1348802"/>
          </a:xfrm>
        </p:spPr>
        <p:txBody>
          <a:bodyPr/>
          <a:lstStyle>
            <a:lvl1pPr>
              <a:defRPr sz="4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TITLE OF PRESENTATIO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C600C45-84BF-667F-60D3-94DEE0A476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9" y="4654865"/>
            <a:ext cx="5892800" cy="44267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bhead and / or meeting 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213A3FE-3464-A4E0-20B7-C4EB2EA800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98" y="5195464"/>
            <a:ext cx="5892800" cy="386702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33C8D4C-2C59-B708-E0D1-232B9FB6E4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787788" y="6081408"/>
            <a:ext cx="3404212" cy="776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2673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/Pref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991DF6A-7476-8374-397C-66D014EF3017}"/>
              </a:ext>
            </a:extLst>
          </p:cNvPr>
          <p:cNvSpPr/>
          <p:nvPr userDrawn="1"/>
        </p:nvSpPr>
        <p:spPr>
          <a:xfrm>
            <a:off x="0" y="-7"/>
            <a:ext cx="12192000" cy="28765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BCAD76A-447F-F7F2-0A6A-07254FB8730D}"/>
              </a:ext>
            </a:extLst>
          </p:cNvPr>
          <p:cNvSpPr/>
          <p:nvPr userDrawn="1"/>
        </p:nvSpPr>
        <p:spPr>
          <a:xfrm>
            <a:off x="535256" y="483907"/>
            <a:ext cx="2208862" cy="2012202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811C99-6DCF-1B2B-68E3-31F3A940648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42192" y="464858"/>
            <a:ext cx="7358930" cy="2164042"/>
          </a:xfrm>
        </p:spPr>
        <p:txBody>
          <a:bodyPr anchor="b"/>
          <a:lstStyle>
            <a:lvl1pPr>
              <a:defRPr sz="48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Introduction/ Preface</a:t>
            </a:r>
          </a:p>
        </p:txBody>
      </p: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D00EB1DA-48E2-552D-390E-93B76B09DC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CF4EED3D-B130-481A-8ECD-A0040EAC36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0E67E9C-E402-346E-D079-EA211EC5B3E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42192" y="3093765"/>
            <a:ext cx="7358930" cy="28098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563259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991DF6A-7476-8374-397C-66D014EF3017}"/>
              </a:ext>
            </a:extLst>
          </p:cNvPr>
          <p:cNvSpPr/>
          <p:nvPr userDrawn="1"/>
        </p:nvSpPr>
        <p:spPr>
          <a:xfrm>
            <a:off x="0" y="-7"/>
            <a:ext cx="12192000" cy="113432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811C99-6DCF-1B2B-68E3-31F3A940648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16535" y="-7"/>
            <a:ext cx="7358930" cy="954367"/>
          </a:xfrm>
        </p:spPr>
        <p:txBody>
          <a:bodyPr anchor="b"/>
          <a:lstStyle>
            <a:lvl1pPr>
              <a:defRPr sz="48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ontents</a:t>
            </a:r>
          </a:p>
        </p:txBody>
      </p: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D00EB1DA-48E2-552D-390E-93B76B09DC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CF4EED3D-B130-481A-8ECD-A0040EAC36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0E67E9C-E402-346E-D079-EA211EC5B3E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416535" y="1562581"/>
            <a:ext cx="7358930" cy="434105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011714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991DF6A-7476-8374-397C-66D014EF3017}"/>
              </a:ext>
            </a:extLst>
          </p:cNvPr>
          <p:cNvSpPr/>
          <p:nvPr userDrawn="1"/>
        </p:nvSpPr>
        <p:spPr>
          <a:xfrm>
            <a:off x="0" y="-7"/>
            <a:ext cx="12192000" cy="61804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BCAD76A-447F-F7F2-0A6A-07254FB8730D}"/>
              </a:ext>
            </a:extLst>
          </p:cNvPr>
          <p:cNvSpPr/>
          <p:nvPr userDrawn="1"/>
        </p:nvSpPr>
        <p:spPr>
          <a:xfrm>
            <a:off x="1525856" y="2218275"/>
            <a:ext cx="2208862" cy="2012202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811C99-6DCF-1B2B-68E3-31F3A940648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847" y="2069176"/>
            <a:ext cx="7358930" cy="2605497"/>
          </a:xfrm>
        </p:spPr>
        <p:txBody>
          <a:bodyPr/>
          <a:lstStyle>
            <a:lvl1pPr>
              <a:defRPr sz="88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Section Divider Title</a:t>
            </a:r>
          </a:p>
        </p:txBody>
      </p: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D00EB1DA-48E2-552D-390E-93B76B09DC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CF4EED3D-B130-481A-8ECD-A0040EAC36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37014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991DF6A-7476-8374-397C-66D014EF3017}"/>
              </a:ext>
            </a:extLst>
          </p:cNvPr>
          <p:cNvSpPr/>
          <p:nvPr userDrawn="1"/>
        </p:nvSpPr>
        <p:spPr>
          <a:xfrm>
            <a:off x="0" y="-8"/>
            <a:ext cx="12192000" cy="685800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FA46D8F-B440-E6A5-259A-83D6CA5AD8A3}"/>
              </a:ext>
            </a:extLst>
          </p:cNvPr>
          <p:cNvSpPr/>
          <p:nvPr userDrawn="1"/>
        </p:nvSpPr>
        <p:spPr>
          <a:xfrm>
            <a:off x="364222" y="-8"/>
            <a:ext cx="7528264" cy="6858007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rgbClr val="FFD9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D00EB1DA-48E2-552D-390E-93B76B09DC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CF4EED3D-B130-481A-8ECD-A0040EAC36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811C99-6DCF-1B2B-68E3-31F3A940648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73100" y="762924"/>
            <a:ext cx="10645799" cy="5332141"/>
          </a:xfrm>
        </p:spPr>
        <p:txBody>
          <a:bodyPr anchor="ctr"/>
          <a:lstStyle>
            <a:lvl1pPr algn="ctr">
              <a:defRPr sz="88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Section Divider Tit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C12642B-675C-7DE1-4488-91874ACAA2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6081408"/>
            <a:ext cx="3404212" cy="776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0566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991DF6A-7476-8374-397C-66D014EF3017}"/>
              </a:ext>
            </a:extLst>
          </p:cNvPr>
          <p:cNvSpPr/>
          <p:nvPr userDrawn="1"/>
        </p:nvSpPr>
        <p:spPr>
          <a:xfrm>
            <a:off x="0" y="-8"/>
            <a:ext cx="12192000" cy="67627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D00EB1DA-48E2-552D-390E-93B76B09DC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CF4EED3D-B130-481A-8ECD-A0040EAC36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811C99-6DCF-1B2B-68E3-31F3A940648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43625" y="3153569"/>
            <a:ext cx="5667375" cy="3017457"/>
          </a:xfrm>
        </p:spPr>
        <p:txBody>
          <a:bodyPr anchor="t"/>
          <a:lstStyle>
            <a:lvl1pPr algn="l">
              <a:defRPr sz="72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Section Divider Title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AC50BB4F-171F-D597-7B63-B8CF4EBC6166}"/>
              </a:ext>
            </a:extLst>
          </p:cNvPr>
          <p:cNvSpPr/>
          <p:nvPr userDrawn="1"/>
        </p:nvSpPr>
        <p:spPr>
          <a:xfrm>
            <a:off x="361312" y="0"/>
            <a:ext cx="7547159" cy="6858000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F663189-B689-FA7E-C80E-C085E30F51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6081408"/>
            <a:ext cx="3404212" cy="776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85235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B9D0C7-EB8D-AB4F-849C-A73E2AB3DA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0"/>
            <a:ext cx="11341100" cy="107899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 err="1"/>
              <a:t>TexT</a:t>
            </a:r>
            <a:r>
              <a:rPr lang="en-US" dirty="0"/>
              <a:t> Slid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B6CE22-FB8D-D242-AFD3-862C54D6A0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157C3A33-8797-B644-A994-F09AF5F503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DB114FE-8B7D-E146-A724-04992485DD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71600"/>
            <a:ext cx="11341100" cy="45886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075859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06FCDA1-B2C5-6548-B895-AF1321DBA8F4}"/>
              </a:ext>
            </a:extLst>
          </p:cNvPr>
          <p:cNvSpPr/>
          <p:nvPr userDrawn="1"/>
        </p:nvSpPr>
        <p:spPr>
          <a:xfrm>
            <a:off x="0" y="6075776"/>
            <a:ext cx="12192000" cy="782224"/>
          </a:xfrm>
          <a:prstGeom prst="rect">
            <a:avLst/>
          </a:prstGeom>
          <a:solidFill>
            <a:srgbClr val="FFCF31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noFill/>
            </a:endParaRP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D2554F3-216C-4D96-9700-4167C9A7EB7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57200" y="0"/>
            <a:ext cx="11338560" cy="10740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D46BD98C-B571-43D4-81FF-2F456DCE5E22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57200" y="1371600"/>
            <a:ext cx="11338560" cy="45188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880C12F-0958-4626-AFCF-E12503C1347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rgbClr val="BF9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687ED32-77BF-4841-8205-C14A8F512EE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rgbClr val="BF9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8CB2B45-2C05-4CEF-931C-2D0342C698C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rgbClr val="BF9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F885B5E-952E-43E0-BDDE-E27C1CE5B95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rgbClr val="BF9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CB42A18-D288-4E38-919E-67D261C0532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rgbClr val="BF9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7EDCAB2-1643-4DA5-A90B-8DA02D0430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rgbClr val="FFD0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16FF2C9F-58DC-F4A5-1EAA-9BE9D631D261}"/>
              </a:ext>
            </a:extLst>
          </p:cNvPr>
          <p:cNvPicPr>
            <a:picLocks noChangeAspect="1"/>
          </p:cNvPicPr>
          <p:nvPr userDrawn="1"/>
        </p:nvPicPr>
        <p:blipFill>
          <a:blip r:embed="rId26"/>
          <a:srcRect/>
          <a:stretch/>
        </p:blipFill>
        <p:spPr>
          <a:xfrm>
            <a:off x="0" y="6081408"/>
            <a:ext cx="3404212" cy="776592"/>
          </a:xfrm>
          <a:prstGeom prst="rect">
            <a:avLst/>
          </a:prstGeo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B91CC4A-0A62-8CE4-DF57-654BF98653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CF4EED3D-B130-481A-8ECD-A0040EAC36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943280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85" r:id="rId2"/>
    <p:sldLayoutId id="2147483681" r:id="rId3"/>
    <p:sldLayoutId id="2147483688" r:id="rId4"/>
    <p:sldLayoutId id="2147483689" r:id="rId5"/>
    <p:sldLayoutId id="2147483676" r:id="rId6"/>
    <p:sldLayoutId id="2147483686" r:id="rId7"/>
    <p:sldLayoutId id="2147483687" r:id="rId8"/>
    <p:sldLayoutId id="2147483654" r:id="rId9"/>
    <p:sldLayoutId id="2147483673" r:id="rId10"/>
    <p:sldLayoutId id="2147483672" r:id="rId11"/>
    <p:sldLayoutId id="2147483668" r:id="rId12"/>
    <p:sldLayoutId id="2147483671" r:id="rId13"/>
    <p:sldLayoutId id="2147483682" r:id="rId14"/>
    <p:sldLayoutId id="2147483678" r:id="rId15"/>
    <p:sldLayoutId id="2147483674" r:id="rId16"/>
    <p:sldLayoutId id="2147483677" r:id="rId17"/>
    <p:sldLayoutId id="2147483652" r:id="rId18"/>
    <p:sldLayoutId id="2147483653" r:id="rId19"/>
    <p:sldLayoutId id="2147483679" r:id="rId20"/>
    <p:sldLayoutId id="2147483680" r:id="rId21"/>
    <p:sldLayoutId id="2147483684" r:id="rId22"/>
    <p:sldLayoutId id="2147483683" r:id="rId23"/>
    <p:sldLayoutId id="2147483690" r:id="rId2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3200" b="0" i="0" kern="1200" cap="all" baseline="0" dirty="0">
          <a:solidFill>
            <a:schemeClr val="bg1"/>
          </a:solidFill>
          <a:effectLst/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spcAft>
          <a:spcPts val="600"/>
        </a:spcAft>
        <a:buFont typeface="Arial" panose="020B0604020202020204" pitchFamily="34" charset="0"/>
        <a:buNone/>
        <a:defRPr sz="22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600"/>
        </a:spcAft>
        <a:buClr>
          <a:srgbClr val="FFD030"/>
        </a:buClr>
        <a:buFont typeface="Wingdings" panose="05000000000000000000" pitchFamily="2" charset="2"/>
        <a:buChar char="§"/>
        <a:defRPr sz="22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39825" indent="-225425" algn="l" defTabSz="914400" rtl="0" eaLnBrk="1" latinLnBrk="0" hangingPunct="1">
        <a:lnSpc>
          <a:spcPct val="90000"/>
        </a:lnSpc>
        <a:spcBef>
          <a:spcPts val="500"/>
        </a:spcBef>
        <a:spcAft>
          <a:spcPts val="600"/>
        </a:spcAft>
        <a:buFont typeface="Wingdings" panose="05000000000000000000" pitchFamily="2" charset="2"/>
        <a:buChar char="§"/>
        <a:defRPr sz="20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600"/>
        </a:spcAft>
        <a:buFont typeface="Arial" panose="020B0604020202020204" pitchFamily="34" charset="0"/>
        <a:buChar char="–"/>
        <a:defRPr sz="18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600"/>
        </a:spcAft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83337F-31BD-92AC-8BB5-12F4399A97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DD34A55C-F212-3308-6F5B-64E16A76B9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11338560" cy="1074058"/>
          </a:xfrm>
        </p:spPr>
        <p:txBody>
          <a:bodyPr anchor="b">
            <a:normAutofit/>
          </a:bodyPr>
          <a:lstStyle/>
          <a:p>
            <a:r>
              <a:rPr lang="en-US" dirty="0"/>
              <a:t>CONTRACTED AMBULATORY SURGERY CENTER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69CC4FB-0A4E-80C9-102F-6DC33059907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9067800" y="6284325"/>
            <a:ext cx="2743200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157C3A33-8797-B644-A994-F09AF5F50374}" type="slidenum">
              <a:rPr lang="en-US" smtClean="0"/>
              <a:pPr>
                <a:spcAft>
                  <a:spcPts val="600"/>
                </a:spcAft>
              </a:pPr>
              <a:t>1</a:t>
            </a:fld>
            <a:endParaRPr lang="en-US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7D4794C2-B3C8-C9C7-5BD7-3954210A847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3563959"/>
              </p:ext>
            </p:extLst>
          </p:nvPr>
        </p:nvGraphicFramePr>
        <p:xfrm>
          <a:off x="457200" y="1916800"/>
          <a:ext cx="11338563" cy="38118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46932">
                  <a:extLst>
                    <a:ext uri="{9D8B030D-6E8A-4147-A177-3AD203B41FA5}">
                      <a16:colId xmlns:a16="http://schemas.microsoft.com/office/drawing/2014/main" val="3860483684"/>
                    </a:ext>
                  </a:extLst>
                </a:gridCol>
                <a:gridCol w="2782685">
                  <a:extLst>
                    <a:ext uri="{9D8B030D-6E8A-4147-A177-3AD203B41FA5}">
                      <a16:colId xmlns:a16="http://schemas.microsoft.com/office/drawing/2014/main" val="159121020"/>
                    </a:ext>
                  </a:extLst>
                </a:gridCol>
                <a:gridCol w="913968">
                  <a:extLst>
                    <a:ext uri="{9D8B030D-6E8A-4147-A177-3AD203B41FA5}">
                      <a16:colId xmlns:a16="http://schemas.microsoft.com/office/drawing/2014/main" val="2332231582"/>
                    </a:ext>
                  </a:extLst>
                </a:gridCol>
                <a:gridCol w="953074">
                  <a:extLst>
                    <a:ext uri="{9D8B030D-6E8A-4147-A177-3AD203B41FA5}">
                      <a16:colId xmlns:a16="http://schemas.microsoft.com/office/drawing/2014/main" val="3265646385"/>
                    </a:ext>
                  </a:extLst>
                </a:gridCol>
                <a:gridCol w="955868">
                  <a:extLst>
                    <a:ext uri="{9D8B030D-6E8A-4147-A177-3AD203B41FA5}">
                      <a16:colId xmlns:a16="http://schemas.microsoft.com/office/drawing/2014/main" val="1773043740"/>
                    </a:ext>
                  </a:extLst>
                </a:gridCol>
                <a:gridCol w="1386036">
                  <a:extLst>
                    <a:ext uri="{9D8B030D-6E8A-4147-A177-3AD203B41FA5}">
                      <a16:colId xmlns:a16="http://schemas.microsoft.com/office/drawing/2014/main" val="3514575036"/>
                    </a:ext>
                  </a:extLst>
                </a:gridCol>
              </a:tblGrid>
              <a:tr h="456537">
                <a:tc gridSpan="6"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2500" u="none" strike="noStrike">
                          <a:effectLst/>
                        </a:rPr>
                        <a:t>Bronx</a:t>
                      </a:r>
                      <a:endParaRPr lang="en-US" sz="2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760" marR="16760" marT="16760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1073050"/>
                  </a:ext>
                </a:extLst>
              </a:tr>
              <a:tr h="456537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2500" u="none" strike="noStrike" dirty="0">
                          <a:effectLst/>
                        </a:rPr>
                        <a:t>Facility Name</a:t>
                      </a:r>
                      <a:endParaRPr lang="en-US" sz="25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760" marR="16760" marT="16760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2500" u="none" strike="noStrike">
                          <a:effectLst/>
                        </a:rPr>
                        <a:t>Address</a:t>
                      </a:r>
                      <a:endParaRPr lang="en-US" sz="2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760" marR="16760" marT="16760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2500" u="none" strike="noStrike">
                          <a:effectLst/>
                        </a:rPr>
                        <a:t>City</a:t>
                      </a:r>
                      <a:endParaRPr lang="en-US" sz="2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760" marR="16760" marT="16760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2500" u="none" strike="noStrike">
                          <a:effectLst/>
                        </a:rPr>
                        <a:t>State</a:t>
                      </a:r>
                      <a:endParaRPr lang="en-US" sz="2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760" marR="16760" marT="16760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2500" u="none" strike="noStrike">
                          <a:effectLst/>
                        </a:rPr>
                        <a:t>Zip</a:t>
                      </a:r>
                      <a:endParaRPr lang="en-US" sz="2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760" marR="16760" marT="16760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2500" u="none" strike="noStrike">
                          <a:effectLst/>
                        </a:rPr>
                        <a:t>Phone</a:t>
                      </a:r>
                      <a:endParaRPr lang="en-US" sz="2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760" marR="16760" marT="16760" marB="0" anchor="ctr"/>
                </a:tc>
                <a:extLst>
                  <a:ext uri="{0D108BD9-81ED-4DB2-BD59-A6C34878D82A}">
                    <a16:rowId xmlns:a16="http://schemas.microsoft.com/office/drawing/2014/main" val="3366163585"/>
                  </a:ext>
                </a:extLst>
              </a:tr>
              <a:tr h="724694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2100" u="none" strike="noStrike">
                          <a:effectLst/>
                        </a:rPr>
                        <a:t>AMSC, LLC dba Downtown Bronx ASC</a:t>
                      </a:r>
                      <a:endParaRPr lang="en-US" sz="2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760" marR="16760" marT="16760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2100" u="none" strike="noStrike">
                          <a:effectLst/>
                        </a:rPr>
                        <a:t>951 Brook Avenue</a:t>
                      </a:r>
                      <a:endParaRPr lang="en-US" sz="2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760" marR="16760" marT="16760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2100" u="none" strike="noStrike">
                          <a:effectLst/>
                        </a:rPr>
                        <a:t>Bronx</a:t>
                      </a:r>
                      <a:endParaRPr lang="en-US" sz="2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760" marR="16760" marT="16760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2100" u="none" strike="noStrike">
                          <a:effectLst/>
                        </a:rPr>
                        <a:t>NY</a:t>
                      </a:r>
                      <a:endParaRPr lang="en-US" sz="2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760" marR="16760" marT="16760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2100" u="none" strike="noStrike">
                          <a:effectLst/>
                        </a:rPr>
                        <a:t>10451</a:t>
                      </a:r>
                      <a:endParaRPr lang="en-US" sz="2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760" marR="16760" marT="16760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2100" u="none" strike="noStrike">
                          <a:effectLst/>
                        </a:rPr>
                        <a:t>(917) 736-9066</a:t>
                      </a:r>
                      <a:endParaRPr lang="en-US" sz="2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760" marR="16760" marT="16760" marB="0" anchor="ctr"/>
                </a:tc>
                <a:extLst>
                  <a:ext uri="{0D108BD9-81ED-4DB2-BD59-A6C34878D82A}">
                    <a16:rowId xmlns:a16="http://schemas.microsoft.com/office/drawing/2014/main" val="1883518084"/>
                  </a:ext>
                </a:extLst>
              </a:tr>
              <a:tr h="724694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2100" u="none" strike="noStrike">
                          <a:effectLst/>
                        </a:rPr>
                        <a:t>Avicenna Ambulatory Surgery Center, Inc.</a:t>
                      </a:r>
                      <a:endParaRPr lang="en-US" sz="2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760" marR="16760" marT="16760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2100" u="none" strike="noStrike">
                          <a:effectLst/>
                        </a:rPr>
                        <a:t>2522 Hughes Avenue</a:t>
                      </a:r>
                      <a:endParaRPr lang="en-US" sz="2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760" marR="16760" marT="16760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2100" u="none" strike="noStrike">
                          <a:effectLst/>
                        </a:rPr>
                        <a:t>Bronx</a:t>
                      </a:r>
                      <a:endParaRPr lang="en-US" sz="2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760" marR="16760" marT="16760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2100" u="none" strike="noStrike">
                          <a:effectLst/>
                        </a:rPr>
                        <a:t>NY</a:t>
                      </a:r>
                      <a:endParaRPr lang="en-US" sz="2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760" marR="16760" marT="16760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2100" u="none" strike="noStrike">
                          <a:effectLst/>
                        </a:rPr>
                        <a:t>10458</a:t>
                      </a:r>
                      <a:endParaRPr lang="en-US" sz="2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760" marR="16760" marT="16760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2100" u="none" strike="noStrike">
                          <a:effectLst/>
                        </a:rPr>
                        <a:t>(718) 933-1918</a:t>
                      </a:r>
                      <a:endParaRPr lang="en-US" sz="2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760" marR="16760" marT="16760" marB="0" anchor="ctr"/>
                </a:tc>
                <a:extLst>
                  <a:ext uri="{0D108BD9-81ED-4DB2-BD59-A6C34878D82A}">
                    <a16:rowId xmlns:a16="http://schemas.microsoft.com/office/drawing/2014/main" val="939713519"/>
                  </a:ext>
                </a:extLst>
              </a:tr>
              <a:tr h="724694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2100" u="none" strike="noStrike">
                          <a:effectLst/>
                        </a:rPr>
                        <a:t>Crotona Parkway ASC LLC</a:t>
                      </a:r>
                      <a:endParaRPr lang="en-US" sz="2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760" marR="16760" marT="16760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2100" u="none" strike="noStrike">
                          <a:effectLst/>
                        </a:rPr>
                        <a:t>1976 Crotona Pkwy, 2A/2B</a:t>
                      </a:r>
                      <a:endParaRPr lang="en-US" sz="2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760" marR="16760" marT="16760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2100" u="none" strike="noStrike">
                          <a:effectLst/>
                        </a:rPr>
                        <a:t>Bronx</a:t>
                      </a:r>
                      <a:endParaRPr lang="en-US" sz="2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760" marR="16760" marT="16760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2100" u="none" strike="noStrike">
                          <a:effectLst/>
                        </a:rPr>
                        <a:t>NY</a:t>
                      </a:r>
                      <a:endParaRPr lang="en-US" sz="2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760" marR="16760" marT="16760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2100" u="none" strike="noStrike">
                          <a:effectLst/>
                        </a:rPr>
                        <a:t>10460</a:t>
                      </a:r>
                      <a:endParaRPr lang="en-US" sz="2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760" marR="16760" marT="16760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2100" u="none" strike="noStrike">
                          <a:effectLst/>
                        </a:rPr>
                        <a:t>(718) 307-5700</a:t>
                      </a:r>
                      <a:endParaRPr lang="en-US" sz="2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760" marR="16760" marT="16760" marB="0" anchor="ctr"/>
                </a:tc>
                <a:extLst>
                  <a:ext uri="{0D108BD9-81ED-4DB2-BD59-A6C34878D82A}">
                    <a16:rowId xmlns:a16="http://schemas.microsoft.com/office/drawing/2014/main" val="540992141"/>
                  </a:ext>
                </a:extLst>
              </a:tr>
              <a:tr h="724694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2100" u="none" strike="noStrike">
                          <a:effectLst/>
                        </a:rPr>
                        <a:t>Mid-Bronx Endoscopy Center, LLC</a:t>
                      </a:r>
                      <a:endParaRPr lang="en-US" sz="2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760" marR="16760" marT="16760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2100" u="none" strike="noStrike">
                          <a:effectLst/>
                        </a:rPr>
                        <a:t>51 West Burnside Avenue</a:t>
                      </a:r>
                      <a:endParaRPr lang="en-US" sz="2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760" marR="16760" marT="16760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2100" u="none" strike="noStrike">
                          <a:effectLst/>
                        </a:rPr>
                        <a:t>Bronx</a:t>
                      </a:r>
                      <a:endParaRPr lang="en-US" sz="2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760" marR="16760" marT="16760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2100" u="none" strike="noStrike">
                          <a:effectLst/>
                        </a:rPr>
                        <a:t>NY</a:t>
                      </a:r>
                      <a:endParaRPr lang="en-US" sz="2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760" marR="16760" marT="16760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2100" u="none" strike="noStrike">
                          <a:effectLst/>
                        </a:rPr>
                        <a:t>10453</a:t>
                      </a:r>
                      <a:endParaRPr lang="en-US" sz="2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760" marR="16760" marT="16760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2100" u="none" strike="noStrike" dirty="0">
                          <a:effectLst/>
                        </a:rPr>
                        <a:t>(917) 791-6004</a:t>
                      </a:r>
                      <a:endParaRPr lang="en-US" sz="2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760" marR="16760" marT="16760" marB="0" anchor="ctr"/>
                </a:tc>
                <a:extLst>
                  <a:ext uri="{0D108BD9-81ED-4DB2-BD59-A6C34878D82A}">
                    <a16:rowId xmlns:a16="http://schemas.microsoft.com/office/drawing/2014/main" val="41313574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068311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6C7FEE-F0D3-A2E9-484D-791540A247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1D29CCB-FA88-34E1-1201-F2885EC4C4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11338560" cy="1074058"/>
          </a:xfrm>
        </p:spPr>
        <p:txBody>
          <a:bodyPr anchor="b">
            <a:normAutofit/>
          </a:bodyPr>
          <a:lstStyle/>
          <a:p>
            <a:r>
              <a:rPr lang="en-US" dirty="0"/>
              <a:t>CONTRACTED AMBULATORY SURGERY CENTER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D4D004-6F76-59C2-FD4A-7EDB4D6C23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9067800" y="6284325"/>
            <a:ext cx="2743200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157C3A33-8797-B644-A994-F09AF5F50374}" type="slidenum">
              <a:rPr lang="en-US" smtClean="0"/>
              <a:pPr>
                <a:spcAft>
                  <a:spcPts val="600"/>
                </a:spcAft>
              </a:pPr>
              <a:t>2</a:t>
            </a:fld>
            <a:endParaRPr lang="en-US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CE4ADF84-B332-31A2-199B-6834E8D0AC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493900"/>
              </p:ext>
            </p:extLst>
          </p:nvPr>
        </p:nvGraphicFramePr>
        <p:xfrm>
          <a:off x="457200" y="2007961"/>
          <a:ext cx="11338563" cy="37885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05752">
                  <a:extLst>
                    <a:ext uri="{9D8B030D-6E8A-4147-A177-3AD203B41FA5}">
                      <a16:colId xmlns:a16="http://schemas.microsoft.com/office/drawing/2014/main" val="2353406241"/>
                    </a:ext>
                  </a:extLst>
                </a:gridCol>
                <a:gridCol w="2718437">
                  <a:extLst>
                    <a:ext uri="{9D8B030D-6E8A-4147-A177-3AD203B41FA5}">
                      <a16:colId xmlns:a16="http://schemas.microsoft.com/office/drawing/2014/main" val="4242910834"/>
                    </a:ext>
                  </a:extLst>
                </a:gridCol>
                <a:gridCol w="1142980">
                  <a:extLst>
                    <a:ext uri="{9D8B030D-6E8A-4147-A177-3AD203B41FA5}">
                      <a16:colId xmlns:a16="http://schemas.microsoft.com/office/drawing/2014/main" val="1730213644"/>
                    </a:ext>
                  </a:extLst>
                </a:gridCol>
                <a:gridCol w="885552">
                  <a:extLst>
                    <a:ext uri="{9D8B030D-6E8A-4147-A177-3AD203B41FA5}">
                      <a16:colId xmlns:a16="http://schemas.microsoft.com/office/drawing/2014/main" val="2914680663"/>
                    </a:ext>
                  </a:extLst>
                </a:gridCol>
                <a:gridCol w="854661">
                  <a:extLst>
                    <a:ext uri="{9D8B030D-6E8A-4147-A177-3AD203B41FA5}">
                      <a16:colId xmlns:a16="http://schemas.microsoft.com/office/drawing/2014/main" val="2277572706"/>
                    </a:ext>
                  </a:extLst>
                </a:gridCol>
                <a:gridCol w="1531181">
                  <a:extLst>
                    <a:ext uri="{9D8B030D-6E8A-4147-A177-3AD203B41FA5}">
                      <a16:colId xmlns:a16="http://schemas.microsoft.com/office/drawing/2014/main" val="3068301920"/>
                    </a:ext>
                  </a:extLst>
                </a:gridCol>
              </a:tblGrid>
              <a:tr h="280494">
                <a:tc gridSpan="6"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Brooklyn</a:t>
                      </a:r>
                      <a:endParaRPr lang="en-US" sz="1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8745117"/>
                  </a:ext>
                </a:extLst>
              </a:tr>
              <a:tr h="280494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500" u="none" strike="noStrike" dirty="0">
                          <a:effectLst/>
                        </a:rPr>
                        <a:t>Facility Name</a:t>
                      </a:r>
                      <a:endParaRPr lang="en-US" sz="15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Address</a:t>
                      </a:r>
                      <a:endParaRPr lang="en-US" sz="1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City</a:t>
                      </a:r>
                      <a:endParaRPr lang="en-US" sz="1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State</a:t>
                      </a:r>
                      <a:endParaRPr lang="en-US" sz="1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Zip</a:t>
                      </a:r>
                      <a:endParaRPr lang="en-US" sz="1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Phone</a:t>
                      </a:r>
                      <a:endParaRPr lang="en-US" sz="1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b"/>
                </a:tc>
                <a:extLst>
                  <a:ext uri="{0D108BD9-81ED-4DB2-BD59-A6C34878D82A}">
                    <a16:rowId xmlns:a16="http://schemas.microsoft.com/office/drawing/2014/main" val="3067046562"/>
                  </a:ext>
                </a:extLst>
              </a:tr>
              <a:tr h="247543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AllCity Family Health Care Center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3632 Nostrand Avenue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Brooklyn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NY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11229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(718) 332-4409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extLst>
                  <a:ext uri="{0D108BD9-81ED-4DB2-BD59-A6C34878D82A}">
                    <a16:rowId xmlns:a16="http://schemas.microsoft.com/office/drawing/2014/main" val="1365013999"/>
                  </a:ext>
                </a:extLst>
              </a:tr>
              <a:tr h="247543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Bay Ridge Surgi-Center LLC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370 Bay Ridge Parkway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Brooklyn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NY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11206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(718) 833-7246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extLst>
                  <a:ext uri="{0D108BD9-81ED-4DB2-BD59-A6C34878D82A}">
                    <a16:rowId xmlns:a16="http://schemas.microsoft.com/office/drawing/2014/main" val="2815099252"/>
                  </a:ext>
                </a:extLst>
              </a:tr>
              <a:tr h="247543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Brook Plaza Ambulatory Surgical Center, Inc.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1901 Utica Avenue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Brooklyn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NY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11234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(718) 968-1515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extLst>
                  <a:ext uri="{0D108BD9-81ED-4DB2-BD59-A6C34878D82A}">
                    <a16:rowId xmlns:a16="http://schemas.microsoft.com/office/drawing/2014/main" val="1956675394"/>
                  </a:ext>
                </a:extLst>
              </a:tr>
              <a:tr h="445248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Brooklyn Endoscopy SC, LLC dba Greater New York Endoscopy Surgical Center, PLLC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2211 Emmons Avenue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Brooklyn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NY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11235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(718) 368-2960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extLst>
                  <a:ext uri="{0D108BD9-81ED-4DB2-BD59-A6C34878D82A}">
                    <a16:rowId xmlns:a16="http://schemas.microsoft.com/office/drawing/2014/main" val="2646575242"/>
                  </a:ext>
                </a:extLst>
              </a:tr>
              <a:tr h="247543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Brooklyn Eye Surgery Center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1301 Avenue J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Brooklyn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NY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11230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(718) 645-0600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extLst>
                  <a:ext uri="{0D108BD9-81ED-4DB2-BD59-A6C34878D82A}">
                    <a16:rowId xmlns:a16="http://schemas.microsoft.com/office/drawing/2014/main" val="3974061873"/>
                  </a:ext>
                </a:extLst>
              </a:tr>
              <a:tr h="247543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Digestive Diseases Diagnostic &amp; Treatment Center, LLC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214 Avenue P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Brooklyn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NY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11204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(718) 339-5678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extLst>
                  <a:ext uri="{0D108BD9-81ED-4DB2-BD59-A6C34878D82A}">
                    <a16:rowId xmlns:a16="http://schemas.microsoft.com/office/drawing/2014/main" val="1341113711"/>
                  </a:ext>
                </a:extLst>
              </a:tr>
              <a:tr h="445248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Endoscopic Ambulatory Specialty Center of Bayridge, Inc.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7601 4th Avenue, Suite 1A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Brooklyn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NY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11209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(718) 745-8879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extLst>
                  <a:ext uri="{0D108BD9-81ED-4DB2-BD59-A6C34878D82A}">
                    <a16:rowId xmlns:a16="http://schemas.microsoft.com/office/drawing/2014/main" val="2336247259"/>
                  </a:ext>
                </a:extLst>
              </a:tr>
              <a:tr h="445248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Island Ambulatory Surgery Center, LLC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2279-83 Coney Island Avenue, 1st Floor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Brooklyn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NY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11223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(718) 998-9400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extLst>
                  <a:ext uri="{0D108BD9-81ED-4DB2-BD59-A6C34878D82A}">
                    <a16:rowId xmlns:a16="http://schemas.microsoft.com/office/drawing/2014/main" val="4158596346"/>
                  </a:ext>
                </a:extLst>
              </a:tr>
              <a:tr h="247543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Moshenyat LLC dba Moshenyat Gastroenterology Center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1958 Ocean Ave 1st FL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Brooklyn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NY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11230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(718) 787-0980      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extLst>
                  <a:ext uri="{0D108BD9-81ED-4DB2-BD59-A6C34878D82A}">
                    <a16:rowId xmlns:a16="http://schemas.microsoft.com/office/drawing/2014/main" val="4234489581"/>
                  </a:ext>
                </a:extLst>
              </a:tr>
              <a:tr h="247543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PBGS, LLC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14 Dekalb Avenue, 4th Floor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Brooklyn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NY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11201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 dirty="0">
                          <a:effectLst/>
                        </a:rPr>
                        <a:t>(718) 408-4999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7" marR="10297" marT="10297" marB="0" anchor="ctr"/>
                </a:tc>
                <a:extLst>
                  <a:ext uri="{0D108BD9-81ED-4DB2-BD59-A6C34878D82A}">
                    <a16:rowId xmlns:a16="http://schemas.microsoft.com/office/drawing/2014/main" val="6468534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351795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7B74DB-CE4B-7E78-F2C1-65E600A07E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EFD0173-45AA-54E7-343E-1FF721F4B6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11338560" cy="1074058"/>
          </a:xfrm>
        </p:spPr>
        <p:txBody>
          <a:bodyPr anchor="b">
            <a:normAutofit/>
          </a:bodyPr>
          <a:lstStyle/>
          <a:p>
            <a:r>
              <a:rPr lang="en-US" dirty="0"/>
              <a:t>CONTRACTED AMBULATORY SURGERY CENTER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DCBB3FC-293A-8283-5742-0353E5446746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9067800" y="6284325"/>
            <a:ext cx="2743200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157C3A33-8797-B644-A994-F09AF5F50374}" type="slidenum">
              <a:rPr lang="en-US" smtClean="0"/>
              <a:pPr>
                <a:spcAft>
                  <a:spcPts val="600"/>
                </a:spcAft>
              </a:pPr>
              <a:t>3</a:t>
            </a:fld>
            <a:endParaRPr lang="en-US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78C49725-DBD2-9F01-8592-64701DF19F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3971054"/>
              </p:ext>
            </p:extLst>
          </p:nvPr>
        </p:nvGraphicFramePr>
        <p:xfrm>
          <a:off x="457200" y="1786238"/>
          <a:ext cx="11338563" cy="40729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08903">
                  <a:extLst>
                    <a:ext uri="{9D8B030D-6E8A-4147-A177-3AD203B41FA5}">
                      <a16:colId xmlns:a16="http://schemas.microsoft.com/office/drawing/2014/main" val="3489333568"/>
                    </a:ext>
                  </a:extLst>
                </a:gridCol>
                <a:gridCol w="2717236">
                  <a:extLst>
                    <a:ext uri="{9D8B030D-6E8A-4147-A177-3AD203B41FA5}">
                      <a16:colId xmlns:a16="http://schemas.microsoft.com/office/drawing/2014/main" val="465802173"/>
                    </a:ext>
                  </a:extLst>
                </a:gridCol>
                <a:gridCol w="1142475">
                  <a:extLst>
                    <a:ext uri="{9D8B030D-6E8A-4147-A177-3AD203B41FA5}">
                      <a16:colId xmlns:a16="http://schemas.microsoft.com/office/drawing/2014/main" val="3410580190"/>
                    </a:ext>
                  </a:extLst>
                </a:gridCol>
                <a:gridCol w="885161">
                  <a:extLst>
                    <a:ext uri="{9D8B030D-6E8A-4147-A177-3AD203B41FA5}">
                      <a16:colId xmlns:a16="http://schemas.microsoft.com/office/drawing/2014/main" val="324284564"/>
                    </a:ext>
                  </a:extLst>
                </a:gridCol>
                <a:gridCol w="854283">
                  <a:extLst>
                    <a:ext uri="{9D8B030D-6E8A-4147-A177-3AD203B41FA5}">
                      <a16:colId xmlns:a16="http://schemas.microsoft.com/office/drawing/2014/main" val="579862785"/>
                    </a:ext>
                  </a:extLst>
                </a:gridCol>
                <a:gridCol w="1530505">
                  <a:extLst>
                    <a:ext uri="{9D8B030D-6E8A-4147-A177-3AD203B41FA5}">
                      <a16:colId xmlns:a16="http://schemas.microsoft.com/office/drawing/2014/main" val="2093384819"/>
                    </a:ext>
                  </a:extLst>
                </a:gridCol>
              </a:tblGrid>
              <a:tr h="280370">
                <a:tc gridSpan="6"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Manhattan</a:t>
                      </a:r>
                      <a:endParaRPr lang="en-US" sz="1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08025494"/>
                  </a:ext>
                </a:extLst>
              </a:tr>
              <a:tr h="28037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 dirty="0">
                          <a:effectLst/>
                        </a:rPr>
                        <a:t>Facility Name</a:t>
                      </a:r>
                      <a:endParaRPr lang="en-US" sz="15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Address</a:t>
                      </a:r>
                      <a:endParaRPr lang="en-US" sz="1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City</a:t>
                      </a:r>
                      <a:endParaRPr lang="en-US" sz="1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State</a:t>
                      </a:r>
                      <a:endParaRPr lang="en-US" sz="1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Zip</a:t>
                      </a:r>
                      <a:endParaRPr lang="en-US" sz="1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Phone</a:t>
                      </a:r>
                      <a:endParaRPr lang="en-US" sz="1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extLst>
                  <a:ext uri="{0D108BD9-81ED-4DB2-BD59-A6C34878D82A}">
                    <a16:rowId xmlns:a16="http://schemas.microsoft.com/office/drawing/2014/main" val="287271673"/>
                  </a:ext>
                </a:extLst>
              </a:tr>
              <a:tr h="445051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5 East 98th Street LLC dba The Derfner Foundation Ambulatory Surgery Center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5 East 98th Street,14th Floor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New York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NY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10029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(212) 241-1941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extLst>
                  <a:ext uri="{0D108BD9-81ED-4DB2-BD59-A6C34878D82A}">
                    <a16:rowId xmlns:a16="http://schemas.microsoft.com/office/drawing/2014/main" val="2448755083"/>
                  </a:ext>
                </a:extLst>
              </a:tr>
              <a:tr h="445051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Gramercy Park Digestive Disease Center, LLC dba GPDDC, LLC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250 Park Avenue, South, 8th FL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New York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NY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10003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(212) 979-3237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extLst>
                  <a:ext uri="{0D108BD9-81ED-4DB2-BD59-A6C34878D82A}">
                    <a16:rowId xmlns:a16="http://schemas.microsoft.com/office/drawing/2014/main" val="3111216809"/>
                  </a:ext>
                </a:extLst>
              </a:tr>
              <a:tr h="247434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Hudson Surgery Center LLC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234 East 23rd Street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New York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NY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10010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(212) 951-7020      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extLst>
                  <a:ext uri="{0D108BD9-81ED-4DB2-BD59-A6C34878D82A}">
                    <a16:rowId xmlns:a16="http://schemas.microsoft.com/office/drawing/2014/main" val="2522936063"/>
                  </a:ext>
                </a:extLst>
              </a:tr>
              <a:tr h="445051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Hudson Yards Surgery Center, LLC dba Hudson Specialty Surgery Center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450 West 31st Street, Suite 2S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New York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NY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10001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(646) 930-2700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extLst>
                  <a:ext uri="{0D108BD9-81ED-4DB2-BD59-A6C34878D82A}">
                    <a16:rowId xmlns:a16="http://schemas.microsoft.com/office/drawing/2014/main" val="2814546675"/>
                  </a:ext>
                </a:extLst>
              </a:tr>
              <a:tr h="247434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Kips Bay Endoscopy Center, LLC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535 2nd Avenue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New York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NY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10016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(212) 889-5477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extLst>
                  <a:ext uri="{0D108BD9-81ED-4DB2-BD59-A6C34878D82A}">
                    <a16:rowId xmlns:a16="http://schemas.microsoft.com/office/drawing/2014/main" val="1026795619"/>
                  </a:ext>
                </a:extLst>
              </a:tr>
              <a:tr h="247434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Liberty Endoscopy Center, LLC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156 William Street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New York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NY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10038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(646) 215-2244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extLst>
                  <a:ext uri="{0D108BD9-81ED-4DB2-BD59-A6C34878D82A}">
                    <a16:rowId xmlns:a16="http://schemas.microsoft.com/office/drawing/2014/main" val="27367738"/>
                  </a:ext>
                </a:extLst>
              </a:tr>
              <a:tr h="247434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Manhattan Endoscopy Center, LLC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535 5th Avenue, 5th Floor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New York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NY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10017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(646) 524-1665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extLst>
                  <a:ext uri="{0D108BD9-81ED-4DB2-BD59-A6C34878D82A}">
                    <a16:rowId xmlns:a16="http://schemas.microsoft.com/office/drawing/2014/main" val="1154062658"/>
                  </a:ext>
                </a:extLst>
              </a:tr>
              <a:tr h="247434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Retinal Ambulatory Surgery Center of New York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138-140 East 80th Street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New York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NY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10015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(212) 772-6830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extLst>
                  <a:ext uri="{0D108BD9-81ED-4DB2-BD59-A6C34878D82A}">
                    <a16:rowId xmlns:a16="http://schemas.microsoft.com/office/drawing/2014/main" val="2185709158"/>
                  </a:ext>
                </a:extLst>
              </a:tr>
              <a:tr h="247434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UWS ASC LLC, dba Upper Westside Endoscopy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230 West 74th Street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New York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NY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10023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(917) 677-0200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extLst>
                  <a:ext uri="{0D108BD9-81ED-4DB2-BD59-A6C34878D82A}">
                    <a16:rowId xmlns:a16="http://schemas.microsoft.com/office/drawing/2014/main" val="636638483"/>
                  </a:ext>
                </a:extLst>
              </a:tr>
              <a:tr h="247434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West Side GI, LLC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619 West 54th Street, 8th Flr.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New York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NY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10017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(212) 889-3142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extLst>
                  <a:ext uri="{0D108BD9-81ED-4DB2-BD59-A6C34878D82A}">
                    <a16:rowId xmlns:a16="http://schemas.microsoft.com/office/drawing/2014/main" val="3902906446"/>
                  </a:ext>
                </a:extLst>
              </a:tr>
              <a:tr h="445051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Yorkville Endoscopy, LLC dba The Endoscopy Center of New York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201 East 93rd Street, 2nd Floor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New York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NY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>
                          <a:effectLst/>
                        </a:rPr>
                        <a:t>10128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300" u="none" strike="noStrike" dirty="0">
                          <a:effectLst/>
                        </a:rPr>
                        <a:t>(212) 897-1006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293" marR="10293" marT="10293" marB="0" anchor="ctr"/>
                </a:tc>
                <a:extLst>
                  <a:ext uri="{0D108BD9-81ED-4DB2-BD59-A6C34878D82A}">
                    <a16:rowId xmlns:a16="http://schemas.microsoft.com/office/drawing/2014/main" val="4640526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197800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01408A-BC01-60FB-C60D-95FE0922E4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3F487F4-B262-0143-95E4-744989B61A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11338560" cy="1074058"/>
          </a:xfrm>
        </p:spPr>
        <p:txBody>
          <a:bodyPr anchor="b">
            <a:normAutofit/>
          </a:bodyPr>
          <a:lstStyle/>
          <a:p>
            <a:r>
              <a:rPr lang="en-US" dirty="0"/>
              <a:t>CONTRACTED AMBULATORY SURGERY CENTER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6A4165E-2771-8996-BDAC-3504AF77AF56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9067800" y="6284325"/>
            <a:ext cx="2743200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157C3A33-8797-B644-A994-F09AF5F50374}" type="slidenum">
              <a:rPr lang="en-US" smtClean="0"/>
              <a:pPr>
                <a:spcAft>
                  <a:spcPts val="600"/>
                </a:spcAft>
              </a:pPr>
              <a:t>4</a:t>
            </a:fld>
            <a:endParaRPr lang="en-US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C617A56-DE83-1153-6FDA-A3F04F3F30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8538434"/>
              </p:ext>
            </p:extLst>
          </p:nvPr>
        </p:nvGraphicFramePr>
        <p:xfrm>
          <a:off x="1252291" y="1652610"/>
          <a:ext cx="9748382" cy="43402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99948">
                  <a:extLst>
                    <a:ext uri="{9D8B030D-6E8A-4147-A177-3AD203B41FA5}">
                      <a16:colId xmlns:a16="http://schemas.microsoft.com/office/drawing/2014/main" val="889685043"/>
                    </a:ext>
                  </a:extLst>
                </a:gridCol>
                <a:gridCol w="2378158">
                  <a:extLst>
                    <a:ext uri="{9D8B030D-6E8A-4147-A177-3AD203B41FA5}">
                      <a16:colId xmlns:a16="http://schemas.microsoft.com/office/drawing/2014/main" val="1470624435"/>
                    </a:ext>
                  </a:extLst>
                </a:gridCol>
                <a:gridCol w="1181180">
                  <a:extLst>
                    <a:ext uri="{9D8B030D-6E8A-4147-A177-3AD203B41FA5}">
                      <a16:colId xmlns:a16="http://schemas.microsoft.com/office/drawing/2014/main" val="3165184113"/>
                    </a:ext>
                  </a:extLst>
                </a:gridCol>
                <a:gridCol w="691047">
                  <a:extLst>
                    <a:ext uri="{9D8B030D-6E8A-4147-A177-3AD203B41FA5}">
                      <a16:colId xmlns:a16="http://schemas.microsoft.com/office/drawing/2014/main" val="971398793"/>
                    </a:ext>
                  </a:extLst>
                </a:gridCol>
                <a:gridCol w="693073">
                  <a:extLst>
                    <a:ext uri="{9D8B030D-6E8A-4147-A177-3AD203B41FA5}">
                      <a16:colId xmlns:a16="http://schemas.microsoft.com/office/drawing/2014/main" val="2657624371"/>
                    </a:ext>
                  </a:extLst>
                </a:gridCol>
                <a:gridCol w="1004976">
                  <a:extLst>
                    <a:ext uri="{9D8B030D-6E8A-4147-A177-3AD203B41FA5}">
                      <a16:colId xmlns:a16="http://schemas.microsoft.com/office/drawing/2014/main" val="3375497547"/>
                    </a:ext>
                  </a:extLst>
                </a:gridCol>
              </a:tblGrid>
              <a:tr h="331022">
                <a:tc gridSpan="6"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800" u="none" strike="noStrike">
                          <a:effectLst/>
                        </a:rPr>
                        <a:t>Queens</a:t>
                      </a:r>
                      <a:endParaRPr lang="en-US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2294203"/>
                  </a:ext>
                </a:extLst>
              </a:tr>
              <a:tr h="331022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800" u="none" strike="noStrike" dirty="0">
                          <a:effectLst/>
                        </a:rPr>
                        <a:t>Facility Name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800" u="none" strike="noStrike">
                          <a:effectLst/>
                        </a:rPr>
                        <a:t>Address</a:t>
                      </a:r>
                      <a:endParaRPr lang="en-US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800" u="none" strike="noStrike">
                          <a:effectLst/>
                        </a:rPr>
                        <a:t>City</a:t>
                      </a:r>
                      <a:endParaRPr lang="en-US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800" u="none" strike="noStrike">
                          <a:effectLst/>
                        </a:rPr>
                        <a:t>State</a:t>
                      </a:r>
                      <a:endParaRPr lang="en-US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800" u="none" strike="noStrike">
                          <a:effectLst/>
                        </a:rPr>
                        <a:t>Zip</a:t>
                      </a:r>
                      <a:endParaRPr lang="en-US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800" u="none" strike="noStrike">
                          <a:effectLst/>
                        </a:rPr>
                        <a:t>Phone</a:t>
                      </a:r>
                      <a:endParaRPr lang="en-US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b"/>
                </a:tc>
                <a:extLst>
                  <a:ext uri="{0D108BD9-81ED-4DB2-BD59-A6C34878D82A}">
                    <a16:rowId xmlns:a16="http://schemas.microsoft.com/office/drawing/2014/main" val="2001080864"/>
                  </a:ext>
                </a:extLst>
              </a:tr>
              <a:tr h="52545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Mason ESC, LLC dba Mason Eye Surgery Center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105-12 101st Avenue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Ozone Park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NY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11416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(718) 847-3600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ctr"/>
                </a:tc>
                <a:extLst>
                  <a:ext uri="{0D108BD9-81ED-4DB2-BD59-A6C34878D82A}">
                    <a16:rowId xmlns:a16="http://schemas.microsoft.com/office/drawing/2014/main" val="556728528"/>
                  </a:ext>
                </a:extLst>
              </a:tr>
              <a:tr h="52545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New York Surgery Center Queens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46-04 31st Avenue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Astoria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NY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11103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(718) 545-5050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ctr"/>
                </a:tc>
                <a:extLst>
                  <a:ext uri="{0D108BD9-81ED-4DB2-BD59-A6C34878D82A}">
                    <a16:rowId xmlns:a16="http://schemas.microsoft.com/office/drawing/2014/main" val="13921092"/>
                  </a:ext>
                </a:extLst>
              </a:tr>
              <a:tr h="52545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NYEEQASC, LLC dba North Queens Surgical Center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500" u="none" strike="noStrike">
                          <a:effectLst/>
                        </a:rPr>
                        <a:t>45-64 Francis Lewis Boulevard, Suite 200</a:t>
                      </a:r>
                      <a:endParaRPr lang="fr-FR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Bayside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NY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11361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(929) 258-7720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ctr"/>
                </a:tc>
                <a:extLst>
                  <a:ext uri="{0D108BD9-81ED-4DB2-BD59-A6C34878D82A}">
                    <a16:rowId xmlns:a16="http://schemas.microsoft.com/office/drawing/2014/main" val="2658256186"/>
                  </a:ext>
                </a:extLst>
              </a:tr>
              <a:tr h="52545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Queens Boulevard ASC, LLC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95-25 Queens Boulevard, 3rd Floor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Rego Park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NY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11374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(718) 406-8000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ctr"/>
                </a:tc>
                <a:extLst>
                  <a:ext uri="{0D108BD9-81ED-4DB2-BD59-A6C34878D82A}">
                    <a16:rowId xmlns:a16="http://schemas.microsoft.com/office/drawing/2014/main" val="1928864371"/>
                  </a:ext>
                </a:extLst>
              </a:tr>
              <a:tr h="52545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Queens Endoscopy ASC, LLC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176-60 Union Turnpike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Fresh Meadows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NY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11366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(718) 425-3300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ctr"/>
                </a:tc>
                <a:extLst>
                  <a:ext uri="{0D108BD9-81ED-4DB2-BD59-A6C34878D82A}">
                    <a16:rowId xmlns:a16="http://schemas.microsoft.com/office/drawing/2014/main" val="1065573003"/>
                  </a:ext>
                </a:extLst>
              </a:tr>
              <a:tr h="52545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Queens Surgical Center, LLC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3636 Main Street, Unit 1S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Flushing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NY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11354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(718) 425-4850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ctr"/>
                </a:tc>
                <a:extLst>
                  <a:ext uri="{0D108BD9-81ED-4DB2-BD59-A6C34878D82A}">
                    <a16:rowId xmlns:a16="http://schemas.microsoft.com/office/drawing/2014/main" val="3619816933"/>
                  </a:ext>
                </a:extLst>
              </a:tr>
              <a:tr h="52545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The Mackool Eye Institute, LLC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31-27 41st Street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Astoria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NY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>
                          <a:effectLst/>
                        </a:rPr>
                        <a:t>11103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500" u="none" strike="noStrike" dirty="0">
                          <a:effectLst/>
                        </a:rPr>
                        <a:t>(718) 728-3400</a:t>
                      </a:r>
                      <a:endParaRPr lang="en-US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52" marR="12152" marT="12152" marB="0" anchor="ctr"/>
                </a:tc>
                <a:extLst>
                  <a:ext uri="{0D108BD9-81ED-4DB2-BD59-A6C34878D82A}">
                    <a16:rowId xmlns:a16="http://schemas.microsoft.com/office/drawing/2014/main" val="31128006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76525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heme/theme1.xml><?xml version="1.0" encoding="utf-8"?>
<a:theme xmlns:a="http://schemas.openxmlformats.org/drawingml/2006/main" name="MPH Gold">
  <a:themeElements>
    <a:clrScheme name="Metro Gold">
      <a:dk1>
        <a:srgbClr val="00080E"/>
      </a:dk1>
      <a:lt1>
        <a:sysClr val="window" lastClr="FFFFFF"/>
      </a:lt1>
      <a:dk2>
        <a:srgbClr val="FFCF31"/>
      </a:dk2>
      <a:lt2>
        <a:srgbClr val="FFFFFF"/>
      </a:lt2>
      <a:accent1>
        <a:srgbClr val="D8AE30"/>
      </a:accent1>
      <a:accent2>
        <a:srgbClr val="B1852C"/>
      </a:accent2>
      <a:accent3>
        <a:srgbClr val="9C6126"/>
      </a:accent3>
      <a:accent4>
        <a:srgbClr val="ED1C26"/>
      </a:accent4>
      <a:accent5>
        <a:srgbClr val="F15F23"/>
      </a:accent5>
      <a:accent6>
        <a:srgbClr val="A8CF3B"/>
      </a:accent6>
      <a:hlink>
        <a:srgbClr val="0065B2"/>
      </a:hlink>
      <a:folHlink>
        <a:srgbClr val="8E459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AF74F13E85724B81AF0B016F2643B3" ma:contentTypeVersion="15" ma:contentTypeDescription="Create a new document." ma:contentTypeScope="" ma:versionID="836975959ba698dff8e13f5d900965c1">
  <xsd:schema xmlns:xsd="http://www.w3.org/2001/XMLSchema" xmlns:xs="http://www.w3.org/2001/XMLSchema" xmlns:p="http://schemas.microsoft.com/office/2006/metadata/properties" xmlns:ns2="0ec2e2e4-9c67-4687-b73c-75464b9f5617" xmlns:ns3="30990d6e-d303-4dd4-a136-d7467752abaf" targetNamespace="http://schemas.microsoft.com/office/2006/metadata/properties" ma:root="true" ma:fieldsID="843fa0559eb6e3bee0a24737034cdbc2" ns2:_="" ns3:_="">
    <xsd:import namespace="0ec2e2e4-9c67-4687-b73c-75464b9f5617"/>
    <xsd:import namespace="30990d6e-d303-4dd4-a136-d7467752aba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c2e2e4-9c67-4687-b73c-75464b9f561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7b16d5d7-de8b-49ef-b70f-9480b70c9ba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22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990d6e-d303-4dd4-a136-d7467752abaf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bedb52d1-f144-42e4-a2e5-e3d03ac54b21}" ma:internalName="TaxCatchAll" ma:showField="CatchAllData" ma:web="30990d6e-d303-4dd4-a136-d7467752aba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0990d6e-d303-4dd4-a136-d7467752abaf" xsi:nil="true"/>
    <lcf76f155ced4ddcb4097134ff3c332f xmlns="0ec2e2e4-9c67-4687-b73c-75464b9f5617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1A0C4202-0C07-4B5B-B469-292D025F492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ec2e2e4-9c67-4687-b73c-75464b9f5617"/>
    <ds:schemaRef ds:uri="30990d6e-d303-4dd4-a136-d7467752aba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DC35ADB-F9C6-4ABA-8438-5D6764FEA85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64A2159-93CB-4A02-B11F-40008FF2262E}">
  <ds:schemaRefs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schemas.microsoft.com/office/2006/documentManagement/types"/>
    <ds:schemaRef ds:uri="http://purl.org/dc/terms/"/>
    <ds:schemaRef ds:uri="http://www.w3.org/XML/1998/namespace"/>
    <ds:schemaRef ds:uri="http://schemas.microsoft.com/office/2006/metadata/properties"/>
    <ds:schemaRef ds:uri="30990d6e-d303-4dd4-a136-d7467752abaf"/>
    <ds:schemaRef ds:uri="0ec2e2e4-9c67-4687-b73c-75464b9f5617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685</TotalTime>
  <Words>660</Words>
  <Application>Microsoft Office PowerPoint</Application>
  <PresentationFormat>Widescreen</PresentationFormat>
  <Paragraphs>228</Paragraphs>
  <Slides>4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8" baseType="lpstr">
      <vt:lpstr>Arial</vt:lpstr>
      <vt:lpstr>Calibri</vt:lpstr>
      <vt:lpstr>Wingdings</vt:lpstr>
      <vt:lpstr>MPH Gold</vt:lpstr>
      <vt:lpstr>CONTRACTED AMBULATORY SURGERY CENTERS</vt:lpstr>
      <vt:lpstr>CONTRACTED AMBULATORY SURGERY CENTERS</vt:lpstr>
      <vt:lpstr>CONTRACTED AMBULATORY SURGERY CENTERS</vt:lpstr>
      <vt:lpstr>CONTRACTED AMBULATORY SURGERY CENTER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Laster-Clark, Elizabeth</cp:lastModifiedBy>
  <cp:revision>244</cp:revision>
  <cp:lastPrinted>2021-12-16T20:37:50Z</cp:lastPrinted>
  <dcterms:created xsi:type="dcterms:W3CDTF">2019-12-31T17:35:15Z</dcterms:created>
  <dcterms:modified xsi:type="dcterms:W3CDTF">2026-03-17T22:26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AF74F13E85724B81AF0B016F2643B3</vt:lpwstr>
  </property>
  <property fmtid="{D5CDD505-2E9C-101B-9397-08002B2CF9AE}" pid="3" name="MediaServiceImageTags">
    <vt:lpwstr/>
  </property>
</Properties>
</file>